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72" r:id="rId1"/>
    <p:sldMasterId id="2147483703" r:id="rId2"/>
  </p:sldMasterIdLst>
  <p:notesMasterIdLst>
    <p:notesMasterId r:id="rId46"/>
  </p:notesMasterIdLst>
  <p:sldIdLst>
    <p:sldId id="453" r:id="rId3"/>
    <p:sldId id="2145706685" r:id="rId4"/>
    <p:sldId id="2145706707" r:id="rId5"/>
    <p:sldId id="2145706708" r:id="rId6"/>
    <p:sldId id="2145706709" r:id="rId7"/>
    <p:sldId id="305" r:id="rId8"/>
    <p:sldId id="306" r:id="rId9"/>
    <p:sldId id="2145706710" r:id="rId10"/>
    <p:sldId id="2145706711" r:id="rId11"/>
    <p:sldId id="2145706712" r:id="rId12"/>
    <p:sldId id="2145706713" r:id="rId13"/>
    <p:sldId id="2145706714" r:id="rId14"/>
    <p:sldId id="287" r:id="rId15"/>
    <p:sldId id="2145706715" r:id="rId16"/>
    <p:sldId id="2145706720" r:id="rId17"/>
    <p:sldId id="308" r:id="rId18"/>
    <p:sldId id="290" r:id="rId19"/>
    <p:sldId id="2145706716" r:id="rId20"/>
    <p:sldId id="294" r:id="rId21"/>
    <p:sldId id="2145706722" r:id="rId22"/>
    <p:sldId id="265" r:id="rId23"/>
    <p:sldId id="2145706723" r:id="rId24"/>
    <p:sldId id="2145706724" r:id="rId25"/>
    <p:sldId id="2145706681" r:id="rId26"/>
    <p:sldId id="2145706746" r:id="rId27"/>
    <p:sldId id="2145706747" r:id="rId28"/>
    <p:sldId id="2145706748" r:id="rId29"/>
    <p:sldId id="295" r:id="rId30"/>
    <p:sldId id="2145706706" r:id="rId31"/>
    <p:sldId id="296" r:id="rId32"/>
    <p:sldId id="288" r:id="rId33"/>
    <p:sldId id="2145706721" r:id="rId34"/>
    <p:sldId id="2145706725" r:id="rId35"/>
    <p:sldId id="2145706726" r:id="rId36"/>
    <p:sldId id="2145706749" r:id="rId37"/>
    <p:sldId id="385" r:id="rId38"/>
    <p:sldId id="413" r:id="rId39"/>
    <p:sldId id="386" r:id="rId40"/>
    <p:sldId id="387" r:id="rId41"/>
    <p:sldId id="388" r:id="rId42"/>
    <p:sldId id="392" r:id="rId43"/>
    <p:sldId id="393" r:id="rId44"/>
    <p:sldId id="679" r:id="rId4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12C8C85-51F0-491E-9774-3900AFEF0FD7}" styleName="Светлый стиль 2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443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312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viewProps" Target="viewProp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11235C-A778-460C-9AB6-F6534FB9C2EE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ABDA04-D6C5-4F40-8CB8-9FBA6FAF818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4134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93950" y="539750"/>
            <a:ext cx="4445000" cy="25019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FDF2371-A4FE-E045-92B5-27FB760B5231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4780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64545B-1991-4287-809A-4E7C398FD10C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33953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64545B-1991-4287-809A-4E7C398FD10C}" type="slidenum">
              <a:rPr lang="ru-RU" smtClean="0"/>
              <a:pPr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63195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120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en-US">
              <a:latin typeface="Arial" pitchFamily="34" charset="0"/>
            </a:endParaRPr>
          </a:p>
        </p:txBody>
      </p:sp>
      <p:sp>
        <p:nvSpPr>
          <p:cNvPr id="5120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D4B28BF1-FB1D-4150-8A6A-DE803628A919}" type="slidenum">
              <a:rPr lang="ru-RU" altLang="en-US" smtClean="0"/>
              <a:pPr eaLnBrk="1" hangingPunct="1">
                <a:spcBef>
                  <a:spcPct val="0"/>
                </a:spcBef>
              </a:pPr>
              <a:t>40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108838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1C93D-2900-46B1-91CA-701CA32C82CB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432A6B-60F7-452C-9823-5DA6DC06987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19934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1C93D-2900-46B1-91CA-701CA32C82CB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432A6B-60F7-452C-9823-5DA6DC06987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51510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1C93D-2900-46B1-91CA-701CA32C82CB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432A6B-60F7-452C-9823-5DA6DC06987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21308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  <a:latin typeface="Century Gothic" charset="0"/>
              </a:defRPr>
            </a:lvl1pPr>
          </a:lstStyle>
          <a:p>
            <a:fld id="{9E2161EF-EBA0-544B-9BCE-25C8D19FDC77}" type="slidenum">
              <a:rPr lang="en-GB" altLang="ru-RU"/>
              <a:pPr/>
              <a:t>‹#›</a:t>
            </a:fld>
            <a:endParaRPr lang="en-GB" altLang="ru-RU"/>
          </a:p>
        </p:txBody>
      </p:sp>
      <p:sp>
        <p:nvSpPr>
          <p:cNvPr id="5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>
                <a:solidFill>
                  <a:srgbClr val="898989"/>
                </a:solidFill>
                <a:latin typeface="Century Gothic" charset="0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26681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60888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61FCC69C-9B8E-4208-8737-B4C333BC0DAC}" type="slidenum">
              <a:rPr lang="en-IE" smtClean="0"/>
              <a:pPr/>
              <a:t>‹#›</a:t>
            </a:fld>
            <a:endParaRPr lang="en-IE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590249" y="462336"/>
            <a:ext cx="8678239" cy="945224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IE" dirty="0"/>
              <a:t>Titles sentence case, Arial 28pt, Bold, Black</a:t>
            </a:r>
          </a:p>
        </p:txBody>
      </p:sp>
      <p:pic>
        <p:nvPicPr>
          <p:cNvPr id="13" name="Picture 12" descr="strip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295820"/>
          </a:xfrm>
          <a:prstGeom prst="rect">
            <a:avLst/>
          </a:prstGeom>
        </p:spPr>
      </p:pic>
      <p:pic>
        <p:nvPicPr>
          <p:cNvPr id="14" name="Picture 13" descr="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9905251" y="495341"/>
            <a:ext cx="1636184" cy="669726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9205637" y="1160980"/>
            <a:ext cx="2986363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50" dirty="0">
                <a:solidFill>
                  <a:srgbClr val="41464C"/>
                </a:solidFill>
              </a:rPr>
              <a:t>Европейская</a:t>
            </a:r>
            <a:r>
              <a:rPr lang="ru-RU" sz="850" dirty="0"/>
              <a:t> </a:t>
            </a:r>
            <a:r>
              <a:rPr lang="ru-RU" sz="850" dirty="0">
                <a:solidFill>
                  <a:srgbClr val="1A2B85"/>
                </a:solidFill>
              </a:rPr>
              <a:t>академия пациентов </a:t>
            </a:r>
          </a:p>
          <a:p>
            <a:pPr algn="ctr"/>
            <a:r>
              <a:rPr lang="ru-RU" sz="850" dirty="0">
                <a:solidFill>
                  <a:srgbClr val="41464C"/>
                </a:solidFill>
              </a:rPr>
              <a:t>в поддержку терапевтических инноваций</a:t>
            </a:r>
            <a:endParaRPr lang="en-IE" sz="850" dirty="0">
              <a:solidFill>
                <a:srgbClr val="4146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96244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1523"/>
            <a:ext cx="2083435" cy="97790"/>
          </a:xfrm>
          <a:custGeom>
            <a:avLst/>
            <a:gdLst/>
            <a:ahLst/>
            <a:cxnLst/>
            <a:rect l="l" t="t" r="r" b="b"/>
            <a:pathLst>
              <a:path w="2083435" h="97790">
                <a:moveTo>
                  <a:pt x="2083308" y="0"/>
                </a:moveTo>
                <a:lnTo>
                  <a:pt x="0" y="0"/>
                </a:lnTo>
                <a:lnTo>
                  <a:pt x="0" y="97535"/>
                </a:lnTo>
                <a:lnTo>
                  <a:pt x="2083308" y="97535"/>
                </a:lnTo>
                <a:lnTo>
                  <a:pt x="2083308" y="0"/>
                </a:lnTo>
                <a:close/>
              </a:path>
            </a:pathLst>
          </a:custGeom>
          <a:solidFill>
            <a:srgbClr val="2D75B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083307" y="1523"/>
            <a:ext cx="1341120" cy="97790"/>
          </a:xfrm>
          <a:custGeom>
            <a:avLst/>
            <a:gdLst/>
            <a:ahLst/>
            <a:cxnLst/>
            <a:rect l="l" t="t" r="r" b="b"/>
            <a:pathLst>
              <a:path w="1341120" h="97790">
                <a:moveTo>
                  <a:pt x="1341120" y="0"/>
                </a:moveTo>
                <a:lnTo>
                  <a:pt x="0" y="0"/>
                </a:lnTo>
                <a:lnTo>
                  <a:pt x="0" y="97535"/>
                </a:lnTo>
                <a:lnTo>
                  <a:pt x="1341120" y="97535"/>
                </a:lnTo>
                <a:lnTo>
                  <a:pt x="1341120" y="0"/>
                </a:lnTo>
                <a:close/>
              </a:path>
            </a:pathLst>
          </a:custGeom>
          <a:solidFill>
            <a:srgbClr val="D5DCE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4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8496AF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  <p:extLst>
      <p:ext uri="{BB962C8B-B14F-4D97-AF65-F5344CB8AC3E}">
        <p14:creationId xmlns:p14="http://schemas.microsoft.com/office/powerpoint/2010/main" val="15625813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228600"/>
            <a:ext cx="10363200" cy="792162"/>
          </a:xfrm>
        </p:spPr>
        <p:txBody>
          <a:bodyPr/>
          <a:lstStyle>
            <a:lvl1pPr algn="l">
              <a:defRPr sz="2800">
                <a:solidFill>
                  <a:srgbClr val="C9112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16331" y="6403151"/>
            <a:ext cx="8636000" cy="250825"/>
          </a:xfrm>
          <a:prstGeom prst="rect">
            <a:avLst/>
          </a:prstGeom>
        </p:spPr>
        <p:txBody>
          <a:bodyPr/>
          <a:lstStyle>
            <a:lvl1pPr>
              <a:defRPr sz="900" baseline="0">
                <a:solidFill>
                  <a:srgbClr val="7F7F7F"/>
                </a:solidFill>
              </a:defRPr>
            </a:lvl1pPr>
          </a:lstStyle>
          <a:p>
            <a:r>
              <a:rPr lang="ru-RU" noProof="0"/>
              <a:t> | Митинг исследователей | Протокол | Надлежащая клиническая практика</a:t>
            </a:r>
            <a:endParaRPr lang="en-US" noProof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7489" y="6403151"/>
            <a:ext cx="533380" cy="247031"/>
          </a:xfrm>
          <a:prstGeom prst="rect">
            <a:avLst/>
          </a:prstGeom>
        </p:spPr>
        <p:txBody>
          <a:bodyPr/>
          <a:lstStyle>
            <a:lvl1pPr>
              <a:defRPr sz="900" baseline="0">
                <a:solidFill>
                  <a:srgbClr val="7F7F7F"/>
                </a:solidFill>
              </a:defRPr>
            </a:lvl1pPr>
          </a:lstStyle>
          <a:p>
            <a:fld id="{E66AA3EA-0569-43EF-BBA3-83FDB109D582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31005099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/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98999" y="6365828"/>
            <a:ext cx="600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fld id="{81BF0B4E-CE60-AB48-9D7E-4434414A7C3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619691" y="1229455"/>
            <a:ext cx="109904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171561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853538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98999" y="6365828"/>
            <a:ext cx="600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fld id="{81BF0B4E-CE60-AB48-9D7E-4434414A7C3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" hasCustomPrompt="1"/>
          </p:nvPr>
        </p:nvSpPr>
        <p:spPr>
          <a:xfrm>
            <a:off x="619691" y="1229455"/>
            <a:ext cx="109904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Click to edit Master text styles.</a:t>
            </a:r>
          </a:p>
        </p:txBody>
      </p:sp>
    </p:spTree>
    <p:extLst>
      <p:ext uri="{BB962C8B-B14F-4D97-AF65-F5344CB8AC3E}">
        <p14:creationId xmlns:p14="http://schemas.microsoft.com/office/powerpoint/2010/main" val="12029252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BF0B4E-CE60-AB48-9D7E-4434414A7C3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620185" y="1279525"/>
            <a:ext cx="5471583" cy="45767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6343651" y="1279525"/>
            <a:ext cx="5342467" cy="458628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6783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vertica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3726360" y="2131238"/>
            <a:ext cx="7602040" cy="1143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3767667" y="4224338"/>
            <a:ext cx="7459133" cy="5969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00" b="0" i="0" baseline="0"/>
            </a:lvl1pPr>
          </a:lstStyle>
          <a:p>
            <a:pPr lvl="0"/>
            <a:r>
              <a:rPr lang="en-US" dirty="0"/>
              <a:t>Presenter Title | Legal Entity | Dat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793584" y="3677724"/>
            <a:ext cx="5545667" cy="390739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dirty="0"/>
              <a:t>Presentation 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4303497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1C93D-2900-46B1-91CA-701CA32C82CB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432A6B-60F7-452C-9823-5DA6DC06987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92056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divid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>
          <a:xfrm>
            <a:off x="574076" y="4743914"/>
            <a:ext cx="5453096" cy="4334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Presentation 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620765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lain 4:3 Title and Content Cool Palette Re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200"/>
              </a:spcBef>
              <a:defRPr/>
            </a:lvl4pPr>
            <a:lvl5pPr>
              <a:spcBef>
                <a:spcPts val="1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457524" y="6345328"/>
            <a:ext cx="298781" cy="507831"/>
          </a:xfrm>
          <a:ln>
            <a:miter lim="800000"/>
            <a:headEnd/>
            <a:tailEnd/>
          </a:ln>
        </p:spPr>
        <p:txBody>
          <a:bodyPr anchor="ctr">
            <a:spAutoFit/>
          </a:bodyPr>
          <a:lstStyle>
            <a:lvl1pPr>
              <a:defRPr/>
            </a:lvl1pPr>
          </a:lstStyle>
          <a:p>
            <a:fld id="{B1E7FC84-9B1F-A046-AD61-576EBEDE336D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1"/>
          </p:nvPr>
        </p:nvSpPr>
        <p:spPr>
          <a:xfrm>
            <a:off x="10191753" y="6514515"/>
            <a:ext cx="1219200" cy="172641"/>
          </a:xfrm>
          <a:prstGeom prst="rect">
            <a:avLst/>
          </a:prstGeom>
        </p:spPr>
        <p:txBody>
          <a:bodyPr lIns="91178" tIns="45590" rIns="91178" bIns="45590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4633429" y="6500814"/>
            <a:ext cx="5615516" cy="201612"/>
          </a:xfrm>
          <a:prstGeom prst="rect">
            <a:avLst/>
          </a:prstGeom>
        </p:spPr>
        <p:txBody>
          <a:bodyPr lIns="91178" tIns="45590" rIns="91178" bIns="45590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84345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10/14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83661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DAEEF4CA-C1DE-4199-914B-0CCC376202D4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20949D-F487-4891-972E-74D487AEFCE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20729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2800" y="784800"/>
            <a:ext cx="11222400" cy="511200"/>
          </a:xfrm>
        </p:spPr>
        <p:txBody>
          <a:bodyPr/>
          <a:lstStyle>
            <a:lvl1pPr marL="0" indent="0">
              <a:buNone/>
              <a:defRPr sz="2100" b="1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12800" y="1760400"/>
            <a:ext cx="8942400" cy="4424400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15782033-1DE2-4A13-8B75-920538054D2E}"/>
              </a:ext>
            </a:extLst>
          </p:cNvPr>
          <p:cNvSpPr>
            <a:spLocks noGrp="1" noChangeArrowheads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C4CF3E-8930-4EA9-AD92-96262BC43608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  <p:sp>
        <p:nvSpPr>
          <p:cNvPr id="6" name="Date Placeholder 7">
            <a:extLst>
              <a:ext uri="{FF2B5EF4-FFF2-40B4-BE49-F238E27FC236}">
                <a16:creationId xmlns:a16="http://schemas.microsoft.com/office/drawing/2014/main" id="{0EB2991A-E08D-47FC-B5AC-34A6582AAF0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uthor | 00 Month Year</a:t>
            </a:r>
            <a:endParaRPr lang="sv-SE"/>
          </a:p>
        </p:txBody>
      </p:sp>
      <p:sp>
        <p:nvSpPr>
          <p:cNvPr id="8" name="Footer Placeholder 10">
            <a:extLst>
              <a:ext uri="{FF2B5EF4-FFF2-40B4-BE49-F238E27FC236}">
                <a16:creationId xmlns:a16="http://schemas.microsoft.com/office/drawing/2014/main" id="{D4861ABB-B9A3-4420-9790-AD7918C87B0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Set area descriptor | Sub level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350347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1C93D-2900-46B1-91CA-701CA32C82CB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432A6B-60F7-452C-9823-5DA6DC06987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47344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1C93D-2900-46B1-91CA-701CA32C82CB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432A6B-60F7-452C-9823-5DA6DC06987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15784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1C93D-2900-46B1-91CA-701CA32C82CB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432A6B-60F7-452C-9823-5DA6DC06987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80019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1C93D-2900-46B1-91CA-701CA32C82CB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432A6B-60F7-452C-9823-5DA6DC06987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15246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1C93D-2900-46B1-91CA-701CA32C82CB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432A6B-60F7-452C-9823-5DA6DC06987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84411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1C93D-2900-46B1-91CA-701CA32C82CB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432A6B-60F7-452C-9823-5DA6DC06987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26989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1C93D-2900-46B1-91CA-701CA32C82CB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432A6B-60F7-452C-9823-5DA6DC06987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83680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17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20.xml"/><Relationship Id="rId15" Type="http://schemas.openxmlformats.org/officeDocument/2006/relationships/image" Target="../media/image5.pn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7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01C93D-2900-46B1-91CA-701CA32C82CB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432A6B-60F7-452C-9823-5DA6DC06987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9706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96" r:id="rId12"/>
    <p:sldLayoutId id="2147483714" r:id="rId13"/>
    <p:sldLayoutId id="2147483715" r:id="rId14"/>
    <p:sldLayoutId id="2147483716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71648822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1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15"/>
          <a:srcRect/>
          <a:stretch/>
        </p:blipFill>
        <p:spPr>
          <a:xfrm>
            <a:off x="0" y="6217099"/>
            <a:ext cx="12192000" cy="65037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9689" y="151637"/>
            <a:ext cx="10990479" cy="9913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9691" y="1229455"/>
            <a:ext cx="109904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4" name="Picture 3" descr="Janssen Horizontal White-01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9492" y="6226575"/>
            <a:ext cx="3310872" cy="606547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98999" y="6365828"/>
            <a:ext cx="600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pPr defTabSz="914291"/>
            <a:fld id="{81BF0B4E-CE60-AB48-9D7E-4434414A7C38}" type="slidenum">
              <a:rPr lang="en-US" smtClean="0">
                <a:solidFill>
                  <a:srgbClr val="FFFFFF"/>
                </a:solidFill>
              </a:rPr>
              <a:pPr defTabSz="914291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5183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500" b="1" kern="1200">
          <a:solidFill>
            <a:schemeClr val="accent1"/>
          </a:solidFill>
          <a:latin typeface="Verdana"/>
          <a:ea typeface="+mj-ea"/>
          <a:cs typeface="Verdana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Wingdings" charset="2"/>
        <a:buChar char="§"/>
        <a:defRPr sz="2000" kern="1200">
          <a:solidFill>
            <a:schemeClr val="tx1"/>
          </a:solidFill>
          <a:latin typeface="Verdana"/>
          <a:ea typeface="+mn-ea"/>
          <a:cs typeface="Verdana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Verdana"/>
          <a:ea typeface="+mn-ea"/>
          <a:cs typeface="Verdana"/>
        </a:defRPr>
      </a:lvl2pPr>
      <a:lvl3pPr marL="1143000" indent="-228600" algn="l" defTabSz="457200" rtl="0" eaLnBrk="1" latinLnBrk="0" hangingPunct="1">
        <a:spcBef>
          <a:spcPct val="20000"/>
        </a:spcBef>
        <a:buFont typeface="Wingdings" charset="2"/>
        <a:buChar char="§"/>
        <a:defRPr sz="1200" kern="1200">
          <a:solidFill>
            <a:schemeClr val="tx1"/>
          </a:solidFill>
          <a:latin typeface="Verdana"/>
          <a:ea typeface="+mn-ea"/>
          <a:cs typeface="Verdana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000" kern="1200">
          <a:solidFill>
            <a:schemeClr val="tx1"/>
          </a:solidFill>
          <a:latin typeface="Verdana"/>
          <a:ea typeface="+mn-ea"/>
          <a:cs typeface="Verdana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Verdana"/>
          <a:ea typeface="+mn-ea"/>
          <a:cs typeface="Verdan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18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gif"/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0.png"/><Relationship Id="rId4" Type="http://schemas.openxmlformats.org/officeDocument/2006/relationships/image" Target="../media/image23.w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BFC6BF6-3808-4071-BE10-C18B6ED5325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54133" y="98148"/>
            <a:ext cx="3148757" cy="1066959"/>
          </a:xfrm>
          <a:prstGeom prst="rect">
            <a:avLst/>
          </a:prstGeom>
        </p:spPr>
      </p:pic>
      <p:sp>
        <p:nvSpPr>
          <p:cNvPr id="9" name="Line 5">
            <a:extLst>
              <a:ext uri="{FF2B5EF4-FFF2-40B4-BE49-F238E27FC236}">
                <a16:creationId xmlns:a16="http://schemas.microsoft.com/office/drawing/2014/main" id="{01E70B53-E0B7-4ACD-A241-2D8A66D463BF}"/>
              </a:ext>
            </a:extLst>
          </p:cNvPr>
          <p:cNvSpPr>
            <a:spLocks noChangeShapeType="1"/>
          </p:cNvSpPr>
          <p:nvPr/>
        </p:nvSpPr>
        <p:spPr bwMode="auto">
          <a:xfrm>
            <a:off x="1820007" y="5849061"/>
            <a:ext cx="9143999" cy="0"/>
          </a:xfrm>
          <a:prstGeom prst="line">
            <a:avLst/>
          </a:prstGeom>
          <a:noFill/>
          <a:ln w="76200">
            <a:solidFill>
              <a:srgbClr val="00CCCC">
                <a:lumMod val="50000"/>
              </a:srgbClr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1236" tIns="40620" rIns="81236" bIns="40620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4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B012902-1F1C-4013-887D-F58A68F79AF2}"/>
              </a:ext>
            </a:extLst>
          </p:cNvPr>
          <p:cNvSpPr txBox="1"/>
          <p:nvPr/>
        </p:nvSpPr>
        <p:spPr>
          <a:xfrm>
            <a:off x="5705234" y="5849061"/>
            <a:ext cx="609765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1800" dirty="0" err="1"/>
              <a:t>Саласюк</a:t>
            </a:r>
            <a:r>
              <a:rPr lang="ru-RU" sz="1800" dirty="0"/>
              <a:t> А.С.</a:t>
            </a:r>
          </a:p>
          <a:p>
            <a:pPr algn="r"/>
            <a:r>
              <a:rPr lang="ru-RU" sz="1800" dirty="0"/>
              <a:t>Профессор кафедры внутренних болезней</a:t>
            </a:r>
          </a:p>
          <a:p>
            <a:pPr algn="r"/>
            <a:r>
              <a:rPr lang="ru-RU" sz="1800" dirty="0"/>
              <a:t>ИНМФО </a:t>
            </a:r>
            <a:r>
              <a:rPr lang="ru-RU" sz="1800" dirty="0" err="1"/>
              <a:t>ВолгГМУ</a:t>
            </a:r>
            <a:r>
              <a:rPr lang="ru-RU" sz="1800" dirty="0"/>
              <a:t>, д.м.н.</a:t>
            </a:r>
          </a:p>
          <a:p>
            <a:pPr algn="r"/>
            <a:endParaRPr lang="ru-RU" sz="180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252E8862-E384-456A-A2E0-BB4F876797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320" y="3613851"/>
            <a:ext cx="11198087" cy="1470025"/>
          </a:xfrm>
        </p:spPr>
        <p:txBody>
          <a:bodyPr>
            <a:noAutofit/>
          </a:bodyPr>
          <a:lstStyle/>
          <a:p>
            <a:br>
              <a:rPr lang="ru-RU" sz="1800" i="1" dirty="0">
                <a:latin typeface="+mn-lt"/>
              </a:rPr>
            </a:br>
            <a:r>
              <a:rPr lang="ru-RU" sz="1800" i="1" dirty="0">
                <a:latin typeface="+mn-lt"/>
              </a:rPr>
              <a:t>дисциплина «Основы научно-исследовательской деятельности» факультативной части основной профессиональной образовательной программы подготовки кадров высшей квалификации в ординатуре по специальности 31.08.49 Терапия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976D9A12-3003-4C96-AEE7-A824CCC40A30}"/>
              </a:ext>
            </a:extLst>
          </p:cNvPr>
          <p:cNvSpPr/>
          <p:nvPr/>
        </p:nvSpPr>
        <p:spPr>
          <a:xfrm>
            <a:off x="437320" y="2598188"/>
            <a:ext cx="1136556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>
                <a:latin typeface="+mj-lt"/>
              </a:rPr>
              <a:t>Тема 1. </a:t>
            </a:r>
            <a:r>
              <a:rPr lang="ru-RU" sz="2000" dirty="0">
                <a:latin typeface="+mj-lt"/>
              </a:rPr>
              <a:t>Основы анализа научных исследований.  </a:t>
            </a: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5F5AAAF5-8F7F-423F-94B9-925F434E8E54}"/>
              </a:ext>
            </a:extLst>
          </p:cNvPr>
          <p:cNvSpPr txBox="1">
            <a:spLocks/>
          </p:cNvSpPr>
          <p:nvPr/>
        </p:nvSpPr>
        <p:spPr>
          <a:xfrm>
            <a:off x="1937869" y="993082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b="1" i="1" dirty="0"/>
              <a:t>Материалы к занятиям семинарского типа</a:t>
            </a:r>
          </a:p>
        </p:txBody>
      </p:sp>
    </p:spTree>
    <p:extLst>
      <p:ext uri="{BB962C8B-B14F-4D97-AF65-F5344CB8AC3E}">
        <p14:creationId xmlns:p14="http://schemas.microsoft.com/office/powerpoint/2010/main" val="41718820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8253" y="0"/>
            <a:ext cx="10515600" cy="1325563"/>
          </a:xfrm>
        </p:spPr>
        <p:txBody>
          <a:bodyPr>
            <a:noAutofit/>
          </a:bodyPr>
          <a:lstStyle/>
          <a:p>
            <a:r>
              <a:rPr lang="ru-RU" sz="3200" dirty="0">
                <a:cs typeface="Times New Roman" pitchFamily="18" charset="0"/>
              </a:rPr>
              <a:t>Параметрические методы статистической обработки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idx="1"/>
          </p:nvPr>
        </p:nvSpPr>
        <p:spPr>
          <a:xfrm>
            <a:off x="1952596" y="1714488"/>
            <a:ext cx="8401080" cy="4686320"/>
          </a:xfrm>
        </p:spPr>
        <p:txBody>
          <a:bodyPr>
            <a:normAutofit fontScale="85000" lnSpcReduction="20000"/>
          </a:bodyPr>
          <a:lstStyle/>
          <a:p>
            <a:pPr marL="514350" indent="-514350">
              <a:buFont typeface="Wingdings" pitchFamily="2" charset="2"/>
              <a:buChar char="ü"/>
            </a:pPr>
            <a:r>
              <a:rPr lang="ru-RU" dirty="0">
                <a:cs typeface="Times New Roman" pitchFamily="18" charset="0"/>
              </a:rPr>
              <a:t>Наиболее часто используется так называемый </a:t>
            </a:r>
            <a:r>
              <a:rPr lang="ru-RU" b="1" dirty="0">
                <a:cs typeface="Times New Roman" pitchFamily="18" charset="0"/>
              </a:rPr>
              <a:t>непарный t-тест </a:t>
            </a:r>
          </a:p>
          <a:p>
            <a:pPr marL="514350" indent="-514350">
              <a:buNone/>
            </a:pPr>
            <a:r>
              <a:rPr lang="ru-RU" b="1" dirty="0">
                <a:cs typeface="Times New Roman" pitchFamily="18" charset="0"/>
              </a:rPr>
              <a:t>        </a:t>
            </a:r>
            <a:r>
              <a:rPr lang="ru-RU" dirty="0">
                <a:cs typeface="Times New Roman" pitchFamily="18" charset="0"/>
              </a:rPr>
              <a:t>(«тест Стьюдента»).</a:t>
            </a:r>
          </a:p>
          <a:p>
            <a:pPr marL="514350" indent="-514350">
              <a:buFont typeface="Wingdings" pitchFamily="2" charset="2"/>
              <a:buChar char="ü"/>
            </a:pPr>
            <a:r>
              <a:rPr lang="ru-RU" dirty="0">
                <a:cs typeface="Times New Roman" pitchFamily="18" charset="0"/>
              </a:rPr>
              <a:t>Если данные являются зависимыми (например, получены в процессе повторных наблюдений за одним и тем же пациентом или используются показатели пациентов, подобранных в пары (по возрасту или полу), рекомендуется </a:t>
            </a:r>
            <a:r>
              <a:rPr lang="ru-RU" b="1" dirty="0">
                <a:cs typeface="Times New Roman" pitchFamily="18" charset="0"/>
              </a:rPr>
              <a:t>парный t-тест</a:t>
            </a:r>
            <a:r>
              <a:rPr lang="ru-RU" dirty="0">
                <a:cs typeface="Times New Roman" pitchFamily="18" charset="0"/>
              </a:rPr>
              <a:t>.</a:t>
            </a:r>
          </a:p>
          <a:p>
            <a:pPr marL="514350" indent="-514350">
              <a:buFont typeface="Wingdings" pitchFamily="2" charset="2"/>
              <a:buChar char="ü"/>
            </a:pPr>
            <a:r>
              <a:rPr lang="ru-RU" dirty="0">
                <a:cs typeface="Times New Roman" pitchFamily="18" charset="0"/>
              </a:rPr>
              <a:t>Для сравнения независимой переменной в более чем двух выборках можно использовать </a:t>
            </a:r>
            <a:r>
              <a:rPr lang="ru-RU" b="1" dirty="0">
                <a:cs typeface="Times New Roman" pitchFamily="18" charset="0"/>
              </a:rPr>
              <a:t>дисперсионный анализ </a:t>
            </a:r>
            <a:r>
              <a:rPr lang="ru-RU" dirty="0">
                <a:cs typeface="Times New Roman" pitchFamily="18" charset="0"/>
              </a:rPr>
              <a:t>(ANOVA). Анализ дает возможность изучить и оценить влияние на конечный результат нескольких факторов или отдельных величин. Так к примеру, его можно применить для выявления разницы среднего систолического АД в различных возрастных группах. </a:t>
            </a:r>
          </a:p>
          <a:p>
            <a:endParaRPr lang="ru-RU" dirty="0">
              <a:cs typeface="Times New Roman" pitchFamily="18" charset="0"/>
            </a:endParaRPr>
          </a:p>
          <a:p>
            <a:pPr>
              <a:buNone/>
            </a:pPr>
            <a:endParaRPr lang="ru-RU" dirty="0">
              <a:cs typeface="Times New Roman" pitchFamily="18" charset="0"/>
            </a:endParaRPr>
          </a:p>
          <a:p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76E3513-4E2B-490B-9E36-58ED804782C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70636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одержимое 3"/>
          <p:cNvSpPr>
            <a:spLocks noGrp="1"/>
          </p:cNvSpPr>
          <p:nvPr>
            <p:ph idx="1"/>
          </p:nvPr>
        </p:nvSpPr>
        <p:spPr>
          <a:xfrm>
            <a:off x="2166910" y="1071546"/>
            <a:ext cx="8229600" cy="4929222"/>
          </a:xfrm>
        </p:spPr>
        <p:txBody>
          <a:bodyPr>
            <a:normAutofit lnSpcReduction="10000"/>
          </a:bodyPr>
          <a:lstStyle/>
          <a:p>
            <a:r>
              <a:rPr lang="ru-RU" sz="2400" dirty="0">
                <a:cs typeface="Times New Roman" pitchFamily="18" charset="0"/>
              </a:rPr>
              <a:t>t-критерий Стьюдента используется для определения статистической значимости различий средних величин.</a:t>
            </a:r>
          </a:p>
          <a:p>
            <a:r>
              <a:rPr lang="ru-RU" sz="2400" dirty="0">
                <a:cs typeface="Times New Roman" pitchFamily="18" charset="0"/>
              </a:rPr>
              <a:t>Может применяться как в случаях сравнения независимых выборок (например, группы больных сахарным диабетом и группы здоровых), так и при сравнении связанных совокупностей (например, средняя частота пульса у одних и тех же пациентов до и после приема антиаритмического препарата).</a:t>
            </a:r>
          </a:p>
          <a:p>
            <a:r>
              <a:rPr lang="ru-RU" sz="2400" dirty="0">
                <a:cs typeface="Times New Roman" pitchFamily="18" charset="0"/>
              </a:rPr>
              <a:t>Для применения t-критерия Стьюдента необходимо, чтобы исходные данные имели нормальное распределение.</a:t>
            </a:r>
          </a:p>
          <a:p>
            <a:r>
              <a:rPr lang="ru-RU" sz="2400" dirty="0">
                <a:cs typeface="Times New Roman" pitchFamily="18" charset="0"/>
              </a:rPr>
              <a:t>При несоблюдении этого условия при сравнении выборочных средних должны использоваться </a:t>
            </a:r>
            <a:r>
              <a:rPr lang="ru-RU" sz="2400" b="1" dirty="0">
                <a:cs typeface="Times New Roman" pitchFamily="18" charset="0"/>
              </a:rPr>
              <a:t>методы непараметрической статистики</a:t>
            </a:r>
            <a:r>
              <a:rPr lang="ru-RU" sz="2400" dirty="0">
                <a:cs typeface="Times New Roman" pitchFamily="18" charset="0"/>
              </a:rPr>
              <a:t>.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4294967295"/>
          </p:nvPr>
        </p:nvSpPr>
        <p:spPr>
          <a:xfrm>
            <a:off x="555930" y="217470"/>
            <a:ext cx="4040188" cy="639762"/>
          </a:xfrm>
        </p:spPr>
        <p:txBody>
          <a:bodyPr>
            <a:normAutofit fontScale="85000" lnSpcReduction="10000"/>
          </a:bodyPr>
          <a:lstStyle/>
          <a:p>
            <a:pPr>
              <a:buNone/>
            </a:pPr>
            <a:r>
              <a:rPr lang="ru-RU" b="1" dirty="0">
                <a:latin typeface="+mj-lt"/>
                <a:cs typeface="Times New Roman" pitchFamily="18" charset="0"/>
              </a:rPr>
              <a:t>Критерий Стьюдент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59C0955-E8B3-4472-B002-FEF3D03B46B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1750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0996" y="0"/>
            <a:ext cx="10515600" cy="1325563"/>
          </a:xfrm>
        </p:spPr>
        <p:txBody>
          <a:bodyPr>
            <a:noAutofit/>
          </a:bodyPr>
          <a:lstStyle/>
          <a:p>
            <a:r>
              <a:rPr lang="ru-RU" sz="2800" dirty="0">
                <a:cs typeface="Times New Roman" pitchFamily="18" charset="0"/>
              </a:rPr>
              <a:t>Непараметрические методы статистической обработки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2024034" y="1500174"/>
            <a:ext cx="4040188" cy="639762"/>
          </a:xfrm>
        </p:spPr>
        <p:txBody>
          <a:bodyPr>
            <a:normAutofit fontScale="92500"/>
          </a:bodyPr>
          <a:lstStyle/>
          <a:p>
            <a:r>
              <a:rPr lang="ru-RU" dirty="0">
                <a:cs typeface="Times New Roman" pitchFamily="18" charset="0"/>
              </a:rPr>
              <a:t>Непрерывные переменные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half" idx="2"/>
          </p:nvPr>
        </p:nvSpPr>
        <p:spPr>
          <a:xfrm>
            <a:off x="1952596" y="2285992"/>
            <a:ext cx="4071966" cy="4429156"/>
          </a:xfrm>
        </p:spPr>
        <p:txBody>
          <a:bodyPr>
            <a:normAutofit fontScale="77500" lnSpcReduction="20000"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sz="2600" b="1" dirty="0">
                <a:cs typeface="Times New Roman" pitchFamily="18" charset="0"/>
              </a:rPr>
              <a:t>U </a:t>
            </a:r>
            <a:r>
              <a:rPr lang="ru-RU" sz="2600" b="1" dirty="0">
                <a:cs typeface="Times New Roman" pitchFamily="18" charset="0"/>
              </a:rPr>
              <a:t>тест Манна-Уитни</a:t>
            </a:r>
          </a:p>
          <a:p>
            <a:r>
              <a:rPr lang="ru-RU" sz="2600" dirty="0">
                <a:cs typeface="Times New Roman" pitchFamily="18" charset="0"/>
              </a:rPr>
              <a:t>Проверяет, являются ли две сравниваемые группы выборками из одного и того же распределения, используя в качестве статистики (U) медиану всевозможных разностей между элементами одной и второй выборки. </a:t>
            </a:r>
          </a:p>
          <a:p>
            <a:pPr marL="457200" indent="-457200">
              <a:buAutoNum type="arabicPeriod" startAt="2"/>
            </a:pPr>
            <a:r>
              <a:rPr lang="en-US" sz="2600" b="1" dirty="0">
                <a:cs typeface="Times New Roman" pitchFamily="18" charset="0"/>
              </a:rPr>
              <a:t>W </a:t>
            </a:r>
            <a:r>
              <a:rPr lang="ru-RU" sz="2600" b="1" dirty="0">
                <a:cs typeface="Times New Roman" pitchFamily="18" charset="0"/>
              </a:rPr>
              <a:t>критерий </a:t>
            </a:r>
            <a:r>
              <a:rPr lang="ru-RU" sz="2600" b="1" dirty="0" err="1">
                <a:cs typeface="Times New Roman" pitchFamily="18" charset="0"/>
              </a:rPr>
              <a:t>Уилкоксона</a:t>
            </a:r>
            <a:endParaRPr lang="ru-RU" sz="2600" b="1" dirty="0">
              <a:cs typeface="Times New Roman" pitchFamily="18" charset="0"/>
            </a:endParaRPr>
          </a:p>
          <a:p>
            <a:r>
              <a:rPr lang="ru-RU" sz="2600" dirty="0">
                <a:cs typeface="Times New Roman" pitchFamily="18" charset="0"/>
              </a:rPr>
              <a:t>аналог парного </a:t>
            </a:r>
          </a:p>
          <a:p>
            <a:r>
              <a:rPr lang="ru-RU" sz="2600" dirty="0">
                <a:cs typeface="Times New Roman" pitchFamily="18" charset="0"/>
              </a:rPr>
              <a:t>критерия Стьюдента (t-критерий для зависимых выборок) для сравнения </a:t>
            </a:r>
          </a:p>
          <a:p>
            <a:r>
              <a:rPr lang="ru-RU" sz="2600" dirty="0">
                <a:cs typeface="Times New Roman" pitchFamily="18" charset="0"/>
              </a:rPr>
              <a:t>больных до и после лечения. Основан на рангах.</a:t>
            </a:r>
          </a:p>
          <a:p>
            <a:pPr marL="457200" indent="-457200"/>
            <a:endParaRPr lang="ru-RU" dirty="0"/>
          </a:p>
          <a:p>
            <a:endParaRPr lang="en-US" dirty="0"/>
          </a:p>
          <a:p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3"/>
          </p:nvPr>
        </p:nvSpPr>
        <p:spPr>
          <a:xfrm>
            <a:off x="6167439" y="1500174"/>
            <a:ext cx="4041775" cy="639762"/>
          </a:xfrm>
        </p:spPr>
        <p:txBody>
          <a:bodyPr>
            <a:normAutofit fontScale="92500"/>
          </a:bodyPr>
          <a:lstStyle/>
          <a:p>
            <a:r>
              <a:rPr lang="ru-RU" dirty="0">
                <a:cs typeface="Times New Roman" pitchFamily="18" charset="0"/>
              </a:rPr>
              <a:t>Дискретные переменные</a:t>
            </a:r>
          </a:p>
        </p:txBody>
      </p:sp>
      <p:sp>
        <p:nvSpPr>
          <p:cNvPr id="10" name="Содержимое 9"/>
          <p:cNvSpPr>
            <a:spLocks noGrp="1"/>
          </p:cNvSpPr>
          <p:nvPr>
            <p:ph sz="quarter" idx="4"/>
          </p:nvPr>
        </p:nvSpPr>
        <p:spPr>
          <a:xfrm>
            <a:off x="6167438" y="2285992"/>
            <a:ext cx="4143404" cy="4214842"/>
          </a:xfrm>
        </p:spPr>
        <p:txBody>
          <a:bodyPr>
            <a:normAutofit fontScale="77500" lnSpcReduction="20000"/>
          </a:bodyPr>
          <a:lstStyle/>
          <a:p>
            <a:pPr marL="457200" indent="-457200">
              <a:buFont typeface="+mj-lt"/>
              <a:buAutoNum type="arabicPeriod"/>
            </a:pPr>
            <a:r>
              <a:rPr lang="ru-RU" b="1" dirty="0">
                <a:cs typeface="Times New Roman" pitchFamily="18" charset="0"/>
              </a:rPr>
              <a:t>Тест Фишера</a:t>
            </a:r>
          </a:p>
          <a:p>
            <a:pPr marL="457200" indent="-457200">
              <a:buFont typeface="+mj-lt"/>
              <a:buAutoNum type="arabicPeriod"/>
            </a:pPr>
            <a:r>
              <a:rPr lang="ru-RU" b="1" dirty="0">
                <a:cs typeface="Times New Roman" pitchFamily="18" charset="0"/>
              </a:rPr>
              <a:t>Критерий </a:t>
            </a:r>
            <a:r>
              <a:rPr lang="el-GR" b="1" dirty="0">
                <a:cs typeface="Times New Roman" pitchFamily="18" charset="0"/>
              </a:rPr>
              <a:t>χ2</a:t>
            </a:r>
            <a:r>
              <a:rPr lang="ru-RU" b="1" dirty="0">
                <a:cs typeface="Times New Roman" pitchFamily="18" charset="0"/>
              </a:rPr>
              <a:t> Пирсона</a:t>
            </a:r>
          </a:p>
          <a:p>
            <a:pPr marL="457200" indent="-457200">
              <a:buFont typeface="+mj-lt"/>
              <a:buAutoNum type="arabicPeriod"/>
            </a:pPr>
            <a:r>
              <a:rPr lang="ru-RU" b="1" dirty="0">
                <a:cs typeface="Times New Roman" pitchFamily="18" charset="0"/>
              </a:rPr>
              <a:t>Тест </a:t>
            </a:r>
            <a:r>
              <a:rPr lang="ru-RU" b="1" dirty="0" err="1">
                <a:cs typeface="Times New Roman" pitchFamily="18" charset="0"/>
              </a:rPr>
              <a:t>МакНемара</a:t>
            </a:r>
            <a:endParaRPr lang="ru-RU" b="1" dirty="0">
              <a:cs typeface="Times New Roman" pitchFamily="18" charset="0"/>
            </a:endParaRPr>
          </a:p>
          <a:p>
            <a:r>
              <a:rPr lang="ru-RU" dirty="0">
                <a:cs typeface="Times New Roman" pitchFamily="18" charset="0"/>
              </a:rPr>
              <a:t>Представляет собой модификацию </a:t>
            </a:r>
            <a:r>
              <a:rPr lang="ru-RU" dirty="0" err="1">
                <a:cs typeface="Times New Roman" pitchFamily="18" charset="0"/>
              </a:rPr>
              <a:t>хи-квадрат</a:t>
            </a:r>
            <a:r>
              <a:rPr lang="ru-RU" dirty="0">
                <a:cs typeface="Times New Roman" pitchFamily="18" charset="0"/>
              </a:rPr>
              <a:t> теста для парных или соотнесенных данных. </a:t>
            </a:r>
          </a:p>
          <a:p>
            <a:r>
              <a:rPr lang="ru-RU" dirty="0">
                <a:cs typeface="Times New Roman" pitchFamily="18" charset="0"/>
              </a:rPr>
              <a:t>Возможно использование при сравнении доли пациентов, ответивших на лечение по какому-то показателю, когда сравнение проводится до и после лечения у одних и тех же людей.</a:t>
            </a:r>
          </a:p>
          <a:p>
            <a:pPr>
              <a:buNone/>
            </a:pPr>
            <a:endParaRPr lang="ru-RU" dirty="0"/>
          </a:p>
          <a:p>
            <a:pPr marL="457200" indent="-457200"/>
            <a:endParaRPr lang="ru-RU" b="1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778F5DFE-6FCC-4027-B31A-03285EC4385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3619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/>
          <p:cNvSpPr>
            <a:spLocks noGrp="1"/>
          </p:cNvSpPr>
          <p:nvPr>
            <p:ph type="body" idx="1"/>
          </p:nvPr>
        </p:nvSpPr>
        <p:spPr>
          <a:xfrm>
            <a:off x="2024034" y="0"/>
            <a:ext cx="4040188" cy="639762"/>
          </a:xfrm>
        </p:spPr>
        <p:txBody>
          <a:bodyPr>
            <a:normAutofit fontScale="62500" lnSpcReduction="20000"/>
          </a:bodyPr>
          <a:lstStyle/>
          <a:p>
            <a:r>
              <a:rPr lang="ru-RU" sz="3600" dirty="0">
                <a:cs typeface="Times New Roman" pitchFamily="18" charset="0"/>
              </a:rPr>
              <a:t>Критерий </a:t>
            </a:r>
            <a:r>
              <a:rPr lang="el-GR" sz="3600" dirty="0">
                <a:cs typeface="Times New Roman" pitchFamily="18" charset="0"/>
              </a:rPr>
              <a:t>χ2</a:t>
            </a:r>
          </a:p>
          <a:p>
            <a:r>
              <a:rPr lang="el-GR" dirty="0"/>
              <a:t> </a:t>
            </a:r>
            <a:endParaRPr lang="ru-RU" dirty="0"/>
          </a:p>
        </p:txBody>
      </p:sp>
      <p:sp>
        <p:nvSpPr>
          <p:cNvPr id="7" name="Содержимое 6"/>
          <p:cNvSpPr>
            <a:spLocks noGrp="1"/>
          </p:cNvSpPr>
          <p:nvPr>
            <p:ph sz="half" idx="2"/>
          </p:nvPr>
        </p:nvSpPr>
        <p:spPr>
          <a:xfrm>
            <a:off x="1738282" y="642918"/>
            <a:ext cx="5715040" cy="6000792"/>
          </a:xfrm>
        </p:spPr>
        <p:txBody>
          <a:bodyPr>
            <a:noAutofit/>
          </a:bodyPr>
          <a:lstStyle/>
          <a:p>
            <a:r>
              <a:rPr lang="ru-RU" sz="1600" dirty="0">
                <a:cs typeface="Times New Roman" pitchFamily="18" charset="0"/>
              </a:rPr>
              <a:t>Оценивается значимость различий между фактическим (выявленным в результате исследования) количеством исходов или качественных характеристик выборки, попадающих в каждую категорию, и теоретическим количеством, которое можно ожидать в изучаемых группах при справедливости нулевой гипотезы. </a:t>
            </a:r>
          </a:p>
          <a:p>
            <a:r>
              <a:rPr lang="ru-RU" sz="1600" dirty="0">
                <a:cs typeface="Times New Roman" pitchFamily="18" charset="0"/>
              </a:rPr>
              <a:t>Необходимо соблюдение следующих условий:</a:t>
            </a:r>
          </a:p>
          <a:p>
            <a:pPr marL="514350" indent="-514350">
              <a:buFont typeface="+mj-lt"/>
              <a:buAutoNum type="arabicPeriod"/>
            </a:pPr>
            <a:r>
              <a:rPr lang="ru-RU" sz="1600" dirty="0">
                <a:cs typeface="Times New Roman" pitchFamily="18" charset="0"/>
              </a:rPr>
              <a:t>Номинальные или порядковые данные (возможно создание категорий из непрерывных данных).</a:t>
            </a:r>
          </a:p>
          <a:p>
            <a:pPr marL="514350" indent="-514350">
              <a:buFont typeface="+mj-lt"/>
              <a:buAutoNum type="arabicPeriod"/>
            </a:pPr>
            <a:r>
              <a:rPr lang="ru-RU" sz="1600" dirty="0">
                <a:cs typeface="Times New Roman" pitchFamily="18" charset="0"/>
              </a:rPr>
              <a:t>Независимость наблюдений (отбор участников исследования из генеральной совокупности производится независимо друг от друга).</a:t>
            </a:r>
          </a:p>
          <a:p>
            <a:pPr marL="514350" indent="-514350">
              <a:buFont typeface="+mj-lt"/>
              <a:buAutoNum type="arabicPeriod"/>
            </a:pPr>
            <a:r>
              <a:rPr lang="ru-RU" sz="1600" dirty="0">
                <a:cs typeface="Times New Roman" pitchFamily="18" charset="0"/>
              </a:rPr>
              <a:t>Независимость групп (метод нельзя применять для исследований типа «до – после»).</a:t>
            </a:r>
          </a:p>
          <a:p>
            <a:pPr marL="514350" indent="-514350">
              <a:buFont typeface="+mj-lt"/>
              <a:buAutoNum type="arabicPeriod"/>
            </a:pPr>
            <a:r>
              <a:rPr lang="ru-RU" sz="1600" dirty="0">
                <a:cs typeface="Times New Roman" pitchFamily="18" charset="0"/>
              </a:rPr>
              <a:t>Ожидаемое (не фактическое) число наблюдений в любой из ячеек должно быть не менее 5 (или 10) для четырехпольных таблиц. </a:t>
            </a:r>
          </a:p>
          <a:p>
            <a:pPr marL="514350" indent="-514350">
              <a:buFont typeface="+mj-lt"/>
              <a:buAutoNum type="arabicPeriod"/>
            </a:pPr>
            <a:r>
              <a:rPr lang="ru-RU" sz="1600" dirty="0">
                <a:cs typeface="Times New Roman" pitchFamily="18" charset="0"/>
              </a:rPr>
              <a:t>Доля ячеек с ожидаемым числом наблюдений менее 5 не должна превышать 20 % для многопольных таблиц.</a:t>
            </a:r>
          </a:p>
          <a:p>
            <a:pPr marL="514350" indent="-514350">
              <a:buFont typeface="+mj-lt"/>
              <a:buAutoNum type="arabicPeriod"/>
            </a:pPr>
            <a:r>
              <a:rPr lang="ru-RU" sz="1600" dirty="0">
                <a:cs typeface="Times New Roman" pitchFamily="18" charset="0"/>
              </a:rPr>
              <a:t>Для расчета критерия χ</a:t>
            </a:r>
            <a:r>
              <a:rPr lang="ru-RU" sz="1600" baseline="30000" dirty="0">
                <a:cs typeface="Times New Roman" pitchFamily="18" charset="0"/>
              </a:rPr>
              <a:t>2 </a:t>
            </a:r>
            <a:r>
              <a:rPr lang="ru-RU" sz="1600" dirty="0">
                <a:cs typeface="Times New Roman" pitchFamily="18" charset="0"/>
              </a:rPr>
              <a:t>используются только абсолютные фактические и ожидаемые числа (проценты и доли для расчетов не используются).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3"/>
          </p:nvPr>
        </p:nvSpPr>
        <p:spPr>
          <a:xfrm>
            <a:off x="7381884" y="0"/>
            <a:ext cx="3286116" cy="639762"/>
          </a:xfrm>
        </p:spPr>
        <p:txBody>
          <a:bodyPr>
            <a:normAutofit fontScale="62500" lnSpcReduction="20000"/>
          </a:bodyPr>
          <a:lstStyle/>
          <a:p>
            <a:r>
              <a:rPr lang="ru-RU" dirty="0">
                <a:cs typeface="Times New Roman" pitchFamily="18" charset="0"/>
              </a:rPr>
              <a:t>Критерий </a:t>
            </a:r>
            <a:r>
              <a:rPr lang="el-GR" dirty="0">
                <a:cs typeface="Times New Roman" pitchFamily="18" charset="0"/>
              </a:rPr>
              <a:t>χ2</a:t>
            </a:r>
            <a:r>
              <a:rPr lang="ru-RU" dirty="0">
                <a:cs typeface="Times New Roman" pitchFamily="18" charset="0"/>
              </a:rPr>
              <a:t> с поправкой Йетса</a:t>
            </a:r>
            <a:endParaRPr lang="el-GR" dirty="0">
              <a:cs typeface="Times New Roman" pitchFamily="18" charset="0"/>
            </a:endParaRPr>
          </a:p>
        </p:txBody>
      </p:sp>
      <p:sp>
        <p:nvSpPr>
          <p:cNvPr id="9" name="Содержимое 8"/>
          <p:cNvSpPr>
            <a:spLocks noGrp="1"/>
          </p:cNvSpPr>
          <p:nvPr>
            <p:ph sz="quarter" idx="4"/>
          </p:nvPr>
        </p:nvSpPr>
        <p:spPr>
          <a:xfrm>
            <a:off x="7239008" y="714356"/>
            <a:ext cx="3428992" cy="3214710"/>
          </a:xfrm>
        </p:spPr>
        <p:txBody>
          <a:bodyPr>
            <a:normAutofit fontScale="85000" lnSpcReduction="10000"/>
          </a:bodyPr>
          <a:lstStyle/>
          <a:p>
            <a:r>
              <a:rPr lang="ru-RU" dirty="0">
                <a:cs typeface="Times New Roman" pitchFamily="18" charset="0"/>
              </a:rPr>
              <a:t> </a:t>
            </a:r>
            <a:r>
              <a:rPr lang="ru-RU" sz="1900" dirty="0">
                <a:cs typeface="Times New Roman" pitchFamily="18" charset="0"/>
              </a:rPr>
              <a:t>Поправка Йетса является  вспомогательным вычислением, но делает оценку силы связи более умеренной, математически же уменьшает погрешность, возникающую при аппроксимации непрерывным распределением </a:t>
            </a:r>
            <a:r>
              <a:rPr lang="ru-RU" sz="1900" dirty="0" err="1">
                <a:cs typeface="Times New Roman" pitchFamily="18" charset="0"/>
              </a:rPr>
              <a:t>Хи-квадрат</a:t>
            </a:r>
            <a:r>
              <a:rPr lang="ru-RU" sz="1900" dirty="0">
                <a:cs typeface="Times New Roman" pitchFamily="18" charset="0"/>
              </a:rPr>
              <a:t> точного выборочного распределения, которое является дискретным, что позволяет избежать ошибок в выводах о независимости  качественных переменных.</a:t>
            </a:r>
          </a:p>
          <a:p>
            <a:pPr>
              <a:buNone/>
            </a:pPr>
            <a:endParaRPr lang="ru-RU" dirty="0">
              <a:cs typeface="Times New Roman" pitchFamily="18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C291772-37A7-4AF0-B1EB-DA856C4E92D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0312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238348" y="928670"/>
            <a:ext cx="4040188" cy="639762"/>
          </a:xfrm>
        </p:spPr>
        <p:txBody>
          <a:bodyPr/>
          <a:lstStyle/>
          <a:p>
            <a:r>
              <a:rPr lang="ru-RU" dirty="0">
                <a:cs typeface="Times New Roman" pitchFamily="18" charset="0"/>
              </a:rPr>
              <a:t>Критерий Фишер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/>
        <p:txBody>
          <a:bodyPr>
            <a:normAutofit fontScale="85000" lnSpcReduction="20000"/>
          </a:bodyPr>
          <a:lstStyle/>
          <a:p>
            <a:r>
              <a:rPr lang="ru-RU" dirty="0">
                <a:cs typeface="Times New Roman" pitchFamily="18" charset="0"/>
              </a:rPr>
              <a:t>Следует применять при количестве ожидаемых наблюдений &lt;5 (некоторые говорят о числе &lt;10) в любой из ячеек четырехпольной таблицы</a:t>
            </a:r>
          </a:p>
          <a:p>
            <a:r>
              <a:rPr lang="ru-RU" dirty="0">
                <a:cs typeface="Times New Roman" pitchFamily="18" charset="0"/>
              </a:rPr>
              <a:t>Необходимые условия для применения точного критерия Фишера соответствуют условиям для применения критерия χ</a:t>
            </a:r>
            <a:r>
              <a:rPr lang="ru-RU" baseline="30000" dirty="0">
                <a:cs typeface="Times New Roman" pitchFamily="18" charset="0"/>
              </a:rPr>
              <a:t>2</a:t>
            </a:r>
            <a:r>
              <a:rPr lang="ru-RU" dirty="0">
                <a:cs typeface="Times New Roman" pitchFamily="18" charset="0"/>
              </a:rPr>
              <a:t> за исключением пунктов 4 и 5.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381753" y="928670"/>
            <a:ext cx="4041775" cy="639762"/>
          </a:xfrm>
        </p:spPr>
        <p:txBody>
          <a:bodyPr/>
          <a:lstStyle/>
          <a:p>
            <a:r>
              <a:rPr lang="ru-RU" dirty="0">
                <a:cs typeface="Times New Roman" pitchFamily="18" charset="0"/>
              </a:rPr>
              <a:t>Критерий </a:t>
            </a:r>
            <a:r>
              <a:rPr lang="nb-NO" dirty="0">
                <a:cs typeface="Times New Roman" pitchFamily="18" charset="0"/>
              </a:rPr>
              <a:t>V </a:t>
            </a:r>
            <a:r>
              <a:rPr lang="ru-RU" dirty="0" err="1">
                <a:cs typeface="Times New Roman" pitchFamily="18" charset="0"/>
              </a:rPr>
              <a:t>Крамера</a:t>
            </a:r>
            <a:r>
              <a:rPr lang="ru-RU" dirty="0">
                <a:cs typeface="Times New Roman" pitchFamily="18" charset="0"/>
              </a:rPr>
              <a:t> 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/>
        <p:txBody>
          <a:bodyPr>
            <a:normAutofit fontScale="85000" lnSpcReduction="20000"/>
          </a:bodyPr>
          <a:lstStyle/>
          <a:p>
            <a:r>
              <a:rPr lang="ru-RU" dirty="0">
                <a:cs typeface="Times New Roman" pitchFamily="18" charset="0"/>
              </a:rPr>
              <a:t>Для многопольных таблиц целесообразнее применять критерий </a:t>
            </a:r>
            <a:r>
              <a:rPr lang="nb-NO" dirty="0">
                <a:cs typeface="Times New Roman" pitchFamily="18" charset="0"/>
              </a:rPr>
              <a:t>V </a:t>
            </a:r>
            <a:r>
              <a:rPr lang="ru-RU" dirty="0" err="1">
                <a:cs typeface="Times New Roman" pitchFamily="18" charset="0"/>
              </a:rPr>
              <a:t>Крамера</a:t>
            </a:r>
            <a:r>
              <a:rPr lang="ru-RU" dirty="0">
                <a:cs typeface="Times New Roman" pitchFamily="18" charset="0"/>
              </a:rPr>
              <a:t> (</a:t>
            </a:r>
            <a:r>
              <a:rPr lang="en-US" dirty="0">
                <a:cs typeface="Times New Roman" pitchFamily="18" charset="0"/>
              </a:rPr>
              <a:t>Cramer</a:t>
            </a:r>
            <a:r>
              <a:rPr lang="ru-RU" dirty="0">
                <a:cs typeface="Times New Roman" pitchFamily="18" charset="0"/>
              </a:rPr>
              <a:t>’</a:t>
            </a:r>
            <a:r>
              <a:rPr lang="en-US" dirty="0">
                <a:cs typeface="Times New Roman" pitchFamily="18" charset="0"/>
              </a:rPr>
              <a:t>s V</a:t>
            </a:r>
            <a:r>
              <a:rPr lang="ru-RU" dirty="0">
                <a:cs typeface="Times New Roman" pitchFamily="18" charset="0"/>
              </a:rPr>
              <a:t>). </a:t>
            </a:r>
          </a:p>
          <a:p>
            <a:r>
              <a:rPr lang="ru-RU" dirty="0">
                <a:cs typeface="Times New Roman" pitchFamily="18" charset="0"/>
              </a:rPr>
              <a:t>Значения обоих критериев варьируют от 0 до 1 (за исключением критерия </a:t>
            </a:r>
            <a:r>
              <a:rPr lang="ru-RU" dirty="0" err="1">
                <a:cs typeface="Times New Roman" pitchFamily="18" charset="0"/>
              </a:rPr>
              <a:t>φ  </a:t>
            </a:r>
            <a:r>
              <a:rPr lang="ru-RU" dirty="0">
                <a:cs typeface="Times New Roman" pitchFamily="18" charset="0"/>
              </a:rPr>
              <a:t>для многопольных таблиц, поэтому  для них его применение и не рекомендуется). </a:t>
            </a:r>
          </a:p>
          <a:p>
            <a:r>
              <a:rPr lang="ru-RU" dirty="0">
                <a:cs typeface="Times New Roman" pitchFamily="18" charset="0"/>
              </a:rPr>
              <a:t>Основан на критерии χ</a:t>
            </a:r>
            <a:r>
              <a:rPr lang="ru-RU" baseline="30000" dirty="0">
                <a:cs typeface="Times New Roman" pitchFamily="18" charset="0"/>
              </a:rPr>
              <a:t>2 </a:t>
            </a:r>
            <a:r>
              <a:rPr lang="ru-RU" dirty="0">
                <a:cs typeface="Times New Roman" pitchFamily="18" charset="0"/>
              </a:rPr>
              <a:t>и могут быть рассчитаны вручную по формулам.</a:t>
            </a:r>
          </a:p>
          <a:p>
            <a:pPr>
              <a:buNone/>
            </a:pPr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8D96E6A9-9DB5-4BE9-B55F-84E38873F2F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214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331DE7D5-837D-49CF-8B7D-F25188727B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/>
              <a:t>Рекомендуемые статистические критерии в зависимости от типа признака и вида</a:t>
            </a:r>
            <a:br>
              <a:rPr lang="ru-RU" sz="3200" dirty="0"/>
            </a:br>
            <a:r>
              <a:rPr lang="ru-RU" sz="3200" dirty="0"/>
              <a:t>его распределения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6F07A0F-8F80-433B-8721-498F422AB7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61044" y="1690688"/>
            <a:ext cx="6286500" cy="454342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E9A94C0C-4099-49AE-83E5-3603A234EA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1044" y="6207125"/>
            <a:ext cx="6286500" cy="5715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8988A8C-CDF1-435C-AF79-324781EC6C8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1135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>
                <a:cs typeface="Times New Roman" pitchFamily="18" charset="0"/>
              </a:rPr>
              <a:t>Корреляционный и регрессионный анализ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2400" dirty="0">
                <a:cs typeface="Times New Roman" pitchFamily="18" charset="0"/>
              </a:rPr>
              <a:t>На практике часто возникают задачи, когда нужно проверить взаимосвязь между какими-либо непрерывными данными, например, между АД и весом тела. В этих случаях используются корреляционный и регрессионный анализ.</a:t>
            </a:r>
          </a:p>
          <a:p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AAF96E9-B6EB-4375-ABAF-C889293DB9D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2338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idx="1"/>
          </p:nvPr>
        </p:nvSpPr>
        <p:spPr>
          <a:xfrm>
            <a:off x="865188" y="1350964"/>
            <a:ext cx="5157787" cy="823912"/>
          </a:xfrm>
        </p:spPr>
        <p:txBody>
          <a:bodyPr>
            <a:normAutofit/>
          </a:bodyPr>
          <a:lstStyle/>
          <a:p>
            <a:r>
              <a:rPr lang="ru-RU" dirty="0">
                <a:cs typeface="Times New Roman" pitchFamily="18" charset="0"/>
              </a:rPr>
              <a:t>Коэффициент  Пирсона (</a:t>
            </a:r>
            <a:r>
              <a:rPr lang="ru-RU" dirty="0" err="1">
                <a:cs typeface="Times New Roman" pitchFamily="18" charset="0"/>
              </a:rPr>
              <a:t>r-Pearson</a:t>
            </a:r>
            <a:r>
              <a:rPr lang="ru-RU" dirty="0">
                <a:cs typeface="Times New Roman" pitchFamily="18" charset="0"/>
              </a:rPr>
              <a:t>)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/>
        <p:txBody>
          <a:bodyPr>
            <a:normAutofit fontScale="77500" lnSpcReduction="20000"/>
          </a:bodyPr>
          <a:lstStyle/>
          <a:p>
            <a:r>
              <a:rPr lang="ru-RU" dirty="0">
                <a:cs typeface="Times New Roman" pitchFamily="18" charset="0"/>
              </a:rPr>
              <a:t>Мера  корреляции,  подходящая  для  двух  непрерывных (метрических переменных), измеренных на одной и той же выборке. </a:t>
            </a:r>
          </a:p>
          <a:p>
            <a:r>
              <a:rPr lang="ru-RU" dirty="0">
                <a:cs typeface="Times New Roman" pitchFamily="18" charset="0"/>
              </a:rPr>
              <a:t>Объем выборки n≥30 </a:t>
            </a:r>
          </a:p>
          <a:p>
            <a:r>
              <a:rPr lang="ru-RU" dirty="0">
                <a:cs typeface="Times New Roman" pitchFamily="18" charset="0"/>
              </a:rPr>
              <a:t>Распределение для использования r-Пирсона должно соответствовать нормальному виду.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3"/>
          </p:nvPr>
        </p:nvSpPr>
        <p:spPr>
          <a:xfrm>
            <a:off x="6273485" y="1269207"/>
            <a:ext cx="5183188" cy="823912"/>
          </a:xfrm>
        </p:spPr>
        <p:txBody>
          <a:bodyPr>
            <a:normAutofit/>
          </a:bodyPr>
          <a:lstStyle/>
          <a:p>
            <a:r>
              <a:rPr lang="ru-RU" dirty="0">
                <a:cs typeface="Times New Roman" pitchFamily="18" charset="0"/>
              </a:rPr>
              <a:t>Коэффициент  </a:t>
            </a:r>
            <a:r>
              <a:rPr lang="ru-RU" dirty="0" err="1">
                <a:cs typeface="Times New Roman" pitchFamily="18" charset="0"/>
              </a:rPr>
              <a:t>Спирмена</a:t>
            </a:r>
            <a:r>
              <a:rPr lang="ru-RU" dirty="0">
                <a:cs typeface="Times New Roman" pitchFamily="18" charset="0"/>
              </a:rPr>
              <a:t> (</a:t>
            </a:r>
            <a:r>
              <a:rPr lang="ru-RU" dirty="0" err="1">
                <a:cs typeface="Times New Roman" pitchFamily="18" charset="0"/>
              </a:rPr>
              <a:t>r-Spearman's</a:t>
            </a:r>
            <a:r>
              <a:rPr lang="ru-RU" dirty="0">
                <a:cs typeface="Times New Roman" pitchFamily="18" charset="0"/>
              </a:rPr>
              <a:t>)</a:t>
            </a:r>
          </a:p>
        </p:txBody>
      </p:sp>
      <p:sp>
        <p:nvSpPr>
          <p:cNvPr id="10" name="Содержимое 9"/>
          <p:cNvSpPr>
            <a:spLocks noGrp="1"/>
          </p:cNvSpPr>
          <p:nvPr>
            <p:ph sz="quarter" idx="4"/>
          </p:nvPr>
        </p:nvSpPr>
        <p:spPr>
          <a:xfrm>
            <a:off x="6169026" y="2174876"/>
            <a:ext cx="3927503" cy="3897331"/>
          </a:xfrm>
        </p:spPr>
        <p:txBody>
          <a:bodyPr>
            <a:normAutofit fontScale="77500" lnSpcReduction="20000"/>
          </a:bodyPr>
          <a:lstStyle/>
          <a:p>
            <a:r>
              <a:rPr lang="ru-RU" dirty="0">
                <a:cs typeface="Times New Roman" pitchFamily="18" charset="0"/>
              </a:rPr>
              <a:t>Мера  корреляции,  подходящая  для  двух  переменных, измеренных в ранговой шкале </a:t>
            </a:r>
          </a:p>
          <a:p>
            <a:r>
              <a:rPr lang="ru-RU" dirty="0">
                <a:cs typeface="Times New Roman" pitchFamily="18" charset="0"/>
              </a:rPr>
              <a:t>Объем выборки n≥5 </a:t>
            </a:r>
          </a:p>
          <a:p>
            <a:r>
              <a:rPr lang="ru-RU" dirty="0">
                <a:cs typeface="Times New Roman" pitchFamily="18" charset="0"/>
              </a:rPr>
              <a:t>Распределение для  использования </a:t>
            </a:r>
            <a:r>
              <a:rPr lang="ru-RU" dirty="0" err="1">
                <a:cs typeface="Times New Roman" pitchFamily="18" charset="0"/>
              </a:rPr>
              <a:t>r-Спирмена</a:t>
            </a:r>
            <a:r>
              <a:rPr lang="ru-RU" dirty="0">
                <a:cs typeface="Times New Roman" pitchFamily="18" charset="0"/>
              </a:rPr>
              <a:t>  соответствие нормальному  виду необязательно</a:t>
            </a:r>
          </a:p>
          <a:p>
            <a:r>
              <a:rPr lang="ru-RU" dirty="0">
                <a:cs typeface="Times New Roman" pitchFamily="18" charset="0"/>
              </a:rPr>
              <a:t>Используется в тех  случаях,  когда n≥30,  но  распределение  значений  не  является  нормальным</a:t>
            </a:r>
          </a:p>
          <a:p>
            <a:endParaRPr lang="ru-RU" dirty="0">
              <a:cs typeface="Times New Roman" pitchFamily="18" charset="0"/>
            </a:endParaRPr>
          </a:p>
          <a:p>
            <a:endParaRPr lang="ru-RU" dirty="0"/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635479" y="126207"/>
            <a:ext cx="8229600" cy="1143000"/>
          </a:xfrm>
        </p:spPr>
        <p:txBody>
          <a:bodyPr>
            <a:normAutofit/>
          </a:bodyPr>
          <a:lstStyle/>
          <a:p>
            <a:r>
              <a:rPr lang="ru-RU" sz="3200" dirty="0">
                <a:cs typeface="Times New Roman" pitchFamily="18" charset="0"/>
              </a:rPr>
              <a:t>Коэффициенты корреляции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282E2D0-3641-41A9-849F-68C2B747D3A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7336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dirty="0">
                <a:cs typeface="Times New Roman" pitchFamily="18" charset="0"/>
              </a:rPr>
              <a:t>Линейные и ранговые корреляции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sz="2400" dirty="0">
                <a:cs typeface="Times New Roman" pitchFamily="18" charset="0"/>
              </a:rPr>
              <a:t>Принимая  решение  о  выборе  типа  корреляции,  при  интерпретации  результатов  важно  помнить  и учитывать,  что  линейные  корреляции  являются  более  точными,  чем  ранговые.  Ранжирование значений  при  использовании </a:t>
            </a:r>
            <a:r>
              <a:rPr lang="ru-RU" sz="2400" dirty="0" err="1">
                <a:cs typeface="Times New Roman" pitchFamily="18" charset="0"/>
              </a:rPr>
              <a:t>r-Спирмена</a:t>
            </a:r>
            <a:r>
              <a:rPr lang="ru-RU" sz="2400" dirty="0">
                <a:cs typeface="Times New Roman" pitchFamily="18" charset="0"/>
              </a:rPr>
              <a:t>  естественным  образом  снижает  меру  индивидуальной изменчивости измеренного на испытуемых показателя.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1E7E39E-8F73-4308-AABE-E0C760D12B1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4798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dirty="0">
                <a:cs typeface="Times New Roman" pitchFamily="18" charset="0"/>
              </a:rPr>
              <a:t>Сила связи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>
              <a:buNone/>
            </a:pPr>
            <a:r>
              <a:rPr lang="ru-RU" dirty="0">
                <a:cs typeface="Times New Roman" pitchFamily="18" charset="0"/>
              </a:rPr>
              <a:t>Принято  считать,  что  сила  коэффициента  корреляции,  как  один  показателей  меры  связи, дифференцируется на три уровня как для положительных, так и для отрицательных корреляций: </a:t>
            </a:r>
          </a:p>
          <a:p>
            <a:r>
              <a:rPr lang="ru-RU" dirty="0" err="1">
                <a:cs typeface="Times New Roman" pitchFamily="18" charset="0"/>
              </a:rPr>
              <a:t>r</a:t>
            </a:r>
            <a:r>
              <a:rPr lang="ru-RU" dirty="0">
                <a:cs typeface="Times New Roman" pitchFamily="18" charset="0"/>
              </a:rPr>
              <a:t>&gt;0,01≤0,29 – слабая положительная связь, </a:t>
            </a:r>
          </a:p>
          <a:p>
            <a:r>
              <a:rPr lang="ru-RU" dirty="0" err="1">
                <a:cs typeface="Times New Roman" pitchFamily="18" charset="0"/>
              </a:rPr>
              <a:t>r</a:t>
            </a:r>
            <a:r>
              <a:rPr lang="ru-RU" dirty="0">
                <a:cs typeface="Times New Roman" pitchFamily="18" charset="0"/>
              </a:rPr>
              <a:t>&gt;0,30≤0,69 – умеренная положительная связь, </a:t>
            </a:r>
          </a:p>
          <a:p>
            <a:r>
              <a:rPr lang="ru-RU" dirty="0" err="1">
                <a:cs typeface="Times New Roman" pitchFamily="18" charset="0"/>
              </a:rPr>
              <a:t>r</a:t>
            </a:r>
            <a:r>
              <a:rPr lang="ru-RU" dirty="0">
                <a:cs typeface="Times New Roman" pitchFamily="18" charset="0"/>
              </a:rPr>
              <a:t>&gt;0,70≤1,00 – сильная положительная связь, </a:t>
            </a:r>
          </a:p>
          <a:p>
            <a:r>
              <a:rPr lang="ru-RU" dirty="0" err="1">
                <a:cs typeface="Times New Roman" pitchFamily="18" charset="0"/>
              </a:rPr>
              <a:t>r</a:t>
            </a:r>
            <a:r>
              <a:rPr lang="ru-RU" dirty="0">
                <a:cs typeface="Times New Roman" pitchFamily="18" charset="0"/>
              </a:rPr>
              <a:t>&gt;-0,01≤-0,29 – слабая отрицательная связь, </a:t>
            </a:r>
          </a:p>
          <a:p>
            <a:r>
              <a:rPr lang="ru-RU" dirty="0" err="1">
                <a:cs typeface="Times New Roman" pitchFamily="18" charset="0"/>
              </a:rPr>
              <a:t>r</a:t>
            </a:r>
            <a:r>
              <a:rPr lang="ru-RU" dirty="0">
                <a:cs typeface="Times New Roman" pitchFamily="18" charset="0"/>
              </a:rPr>
              <a:t>&gt;-0,30≤-0,69 – умеренная отрицательная связь, </a:t>
            </a:r>
          </a:p>
          <a:p>
            <a:r>
              <a:rPr lang="ru-RU" dirty="0" err="1">
                <a:cs typeface="Times New Roman" pitchFamily="18" charset="0"/>
              </a:rPr>
              <a:t>r</a:t>
            </a:r>
            <a:r>
              <a:rPr lang="ru-RU" dirty="0">
                <a:cs typeface="Times New Roman" pitchFamily="18" charset="0"/>
              </a:rPr>
              <a:t>&gt;-0,70≤-1,00 – сильная отрицательная связь.</a:t>
            </a:r>
          </a:p>
          <a:p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72863C5-A086-495B-A8E9-1946330D842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55567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C47F5784-D4D4-4F8F-932B-F1B589713A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7893" y="1757367"/>
            <a:ext cx="10515600" cy="1740593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sz="4000" dirty="0">
                <a:latin typeface="+mj-lt"/>
              </a:rPr>
              <a:t>Основы анализа научных исследований.</a:t>
            </a:r>
            <a:endParaRPr lang="ru-RU" sz="3600" dirty="0">
              <a:latin typeface="+mj-lt"/>
            </a:endParaRPr>
          </a:p>
        </p:txBody>
      </p:sp>
      <p:pic>
        <p:nvPicPr>
          <p:cNvPr id="13314" name="Picture 2" descr="Всероссийское общество орфанных заболеваний">
            <a:extLst>
              <a:ext uri="{FF2B5EF4-FFF2-40B4-BE49-F238E27FC236}">
                <a16:creationId xmlns:a16="http://schemas.microsoft.com/office/drawing/2014/main" id="{081AD9CE-F91D-4A28-A912-906950BED3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684"/>
          <a:stretch/>
        </p:blipFill>
        <p:spPr bwMode="auto">
          <a:xfrm>
            <a:off x="8059097" y="3968150"/>
            <a:ext cx="3753581" cy="2751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5E39A1C-8D8D-41E0-9D7C-44401B0830F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0188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35355" y="1066431"/>
            <a:ext cx="10793095" cy="5537200"/>
          </a:xfrm>
          <a:prstGeom prst="rect">
            <a:avLst/>
          </a:prstGeom>
        </p:spPr>
        <p:txBody>
          <a:bodyPr vert="horz" wrap="square" lIns="0" tIns="107950" rIns="0" bIns="0" rtlCol="0">
            <a:spAutoFit/>
          </a:bodyPr>
          <a:lstStyle/>
          <a:p>
            <a:pPr marL="527685" indent="-515620">
              <a:lnSpc>
                <a:spcPct val="100000"/>
              </a:lnSpc>
              <a:spcBef>
                <a:spcPts val="850"/>
              </a:spcBef>
              <a:buClr>
                <a:srgbClr val="5B9BD4"/>
              </a:buClr>
              <a:buSzPct val="80000"/>
              <a:buAutoNum type="arabicPeriod"/>
              <a:tabLst>
                <a:tab pos="527685" algn="l"/>
                <a:tab pos="528320" algn="l"/>
              </a:tabLst>
            </a:pP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Был</a:t>
            </a:r>
            <a:r>
              <a:rPr sz="2000" spc="-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20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дизайн</a:t>
            </a:r>
            <a:r>
              <a:rPr sz="20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исследования</a:t>
            </a:r>
            <a:r>
              <a:rPr sz="2000" spc="-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определен</a:t>
            </a:r>
            <a:r>
              <a:rPr sz="2000" spc="-3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заранее?</a:t>
            </a:r>
            <a:endParaRPr sz="2000">
              <a:latin typeface="Arial"/>
              <a:cs typeface="Arial"/>
            </a:endParaRPr>
          </a:p>
          <a:p>
            <a:pPr marL="527685" indent="-515620">
              <a:lnSpc>
                <a:spcPts val="2280"/>
              </a:lnSpc>
              <a:spcBef>
                <a:spcPts val="755"/>
              </a:spcBef>
              <a:buClr>
                <a:srgbClr val="5B9BD4"/>
              </a:buClr>
              <a:buSzPct val="80000"/>
              <a:buAutoNum type="arabicPeriod"/>
              <a:tabLst>
                <a:tab pos="527685" algn="l"/>
                <a:tab pos="528320" algn="l"/>
              </a:tabLst>
            </a:pP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Были</a:t>
            </a:r>
            <a:r>
              <a:rPr sz="2000" spc="-7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2000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отбор</a:t>
            </a:r>
            <a:r>
              <a:rPr sz="2000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исследований</a:t>
            </a:r>
            <a:r>
              <a:rPr sz="2000" spc="-9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и/или</a:t>
            </a:r>
            <a:r>
              <a:rPr sz="2000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извлечение</a:t>
            </a:r>
            <a:r>
              <a:rPr sz="2000" spc="-8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данных</a:t>
            </a:r>
            <a:r>
              <a:rPr sz="2000" spc="-7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выполнены</a:t>
            </a:r>
            <a:r>
              <a:rPr sz="2000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независимо</a:t>
            </a:r>
            <a:r>
              <a:rPr sz="2000" spc="-7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двумя</a:t>
            </a:r>
            <a:endParaRPr sz="2000">
              <a:latin typeface="Arial"/>
              <a:cs typeface="Arial"/>
            </a:endParaRPr>
          </a:p>
          <a:p>
            <a:pPr marL="527685">
              <a:lnSpc>
                <a:spcPts val="2280"/>
              </a:lnSpc>
            </a:pP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исследователями?</a:t>
            </a:r>
            <a:endParaRPr sz="2000">
              <a:latin typeface="Arial"/>
              <a:cs typeface="Arial"/>
            </a:endParaRPr>
          </a:p>
          <a:p>
            <a:pPr marL="527685" indent="-515620">
              <a:lnSpc>
                <a:spcPct val="100000"/>
              </a:lnSpc>
              <a:spcBef>
                <a:spcPts val="770"/>
              </a:spcBef>
              <a:buClr>
                <a:srgbClr val="5B9BD4"/>
              </a:buClr>
              <a:buSzPct val="80000"/>
              <a:buAutoNum type="arabicPeriod" startAt="3"/>
              <a:tabLst>
                <a:tab pos="527685" algn="l"/>
                <a:tab pos="528320" algn="l"/>
              </a:tabLst>
            </a:pP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Был</a:t>
            </a:r>
            <a:r>
              <a:rPr sz="20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2000" spc="-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поиск</a:t>
            </a:r>
            <a:r>
              <a:rPr sz="20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литературных</a:t>
            </a:r>
            <a:r>
              <a:rPr sz="20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источников</a:t>
            </a:r>
            <a:r>
              <a:rPr sz="20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исчерпывающим?</a:t>
            </a:r>
            <a:endParaRPr sz="2000">
              <a:latin typeface="Arial"/>
              <a:cs typeface="Arial"/>
            </a:endParaRPr>
          </a:p>
          <a:p>
            <a:pPr marL="527685" indent="-515620">
              <a:lnSpc>
                <a:spcPts val="2280"/>
              </a:lnSpc>
              <a:spcBef>
                <a:spcPts val="755"/>
              </a:spcBef>
              <a:buClr>
                <a:srgbClr val="5B9BD4"/>
              </a:buClr>
              <a:buSzPct val="80000"/>
              <a:buAutoNum type="arabicPeriod" startAt="3"/>
              <a:tabLst>
                <a:tab pos="527685" algn="l"/>
                <a:tab pos="528320" algn="l"/>
              </a:tabLst>
            </a:pP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Были</a:t>
            </a:r>
            <a:r>
              <a:rPr sz="20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20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тип</a:t>
            </a:r>
            <a:r>
              <a:rPr sz="2000" spc="-2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или</a:t>
            </a:r>
            <a:r>
              <a:rPr sz="20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язык</a:t>
            </a:r>
            <a:r>
              <a:rPr sz="2000" spc="-1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публикации</a:t>
            </a:r>
            <a:r>
              <a:rPr sz="2000" spc="-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использованы</a:t>
            </a:r>
            <a:r>
              <a:rPr sz="2000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в</a:t>
            </a:r>
            <a:r>
              <a:rPr sz="2000" spc="-2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качестве</a:t>
            </a:r>
            <a:r>
              <a:rPr sz="2000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критерия</a:t>
            </a:r>
            <a:r>
              <a:rPr sz="20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отбора</a:t>
            </a:r>
            <a:endParaRPr sz="2000">
              <a:latin typeface="Arial"/>
              <a:cs typeface="Arial"/>
            </a:endParaRPr>
          </a:p>
          <a:p>
            <a:pPr marL="527685">
              <a:lnSpc>
                <a:spcPts val="2280"/>
              </a:lnSpc>
            </a:pP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исследований?</a:t>
            </a:r>
            <a:endParaRPr sz="2000">
              <a:latin typeface="Arial"/>
              <a:cs typeface="Arial"/>
            </a:endParaRPr>
          </a:p>
          <a:p>
            <a:pPr marL="527685" indent="-515620">
              <a:lnSpc>
                <a:spcPct val="100000"/>
              </a:lnSpc>
              <a:spcBef>
                <a:spcPts val="760"/>
              </a:spcBef>
              <a:buClr>
                <a:srgbClr val="5B9BD4"/>
              </a:buClr>
              <a:buSzPct val="80000"/>
              <a:buAutoNum type="arabicPeriod" startAt="5"/>
              <a:tabLst>
                <a:tab pos="527685" algn="l"/>
                <a:tab pos="528320" algn="l"/>
              </a:tabLst>
            </a:pP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Перечислены</a:t>
            </a:r>
            <a:r>
              <a:rPr sz="2000" spc="-8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2000" spc="-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все</a:t>
            </a:r>
            <a:r>
              <a:rPr sz="2000" spc="-3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исследования</a:t>
            </a:r>
            <a:r>
              <a:rPr sz="2000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(включенные</a:t>
            </a:r>
            <a:r>
              <a:rPr sz="2000" spc="-7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и</a:t>
            </a:r>
            <a:r>
              <a:rPr sz="2000" spc="-2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исключенные)?</a:t>
            </a:r>
            <a:endParaRPr sz="2000">
              <a:latin typeface="Arial"/>
              <a:cs typeface="Arial"/>
            </a:endParaRPr>
          </a:p>
          <a:p>
            <a:pPr marL="527685" indent="-515620">
              <a:lnSpc>
                <a:spcPct val="100000"/>
              </a:lnSpc>
              <a:spcBef>
                <a:spcPts val="765"/>
              </a:spcBef>
              <a:buClr>
                <a:srgbClr val="5B9BD4"/>
              </a:buClr>
              <a:buSzPct val="80000"/>
              <a:buAutoNum type="arabicPeriod" startAt="5"/>
              <a:tabLst>
                <a:tab pos="527685" algn="l"/>
                <a:tab pos="528320" algn="l"/>
              </a:tabLst>
            </a:pP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Дана</a:t>
            </a:r>
            <a:r>
              <a:rPr sz="2000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2000" spc="-3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характеристика</a:t>
            </a:r>
            <a:r>
              <a:rPr sz="2000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включенным</a:t>
            </a:r>
            <a:r>
              <a:rPr sz="20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исследованиям?</a:t>
            </a:r>
            <a:endParaRPr sz="2000">
              <a:latin typeface="Arial"/>
              <a:cs typeface="Arial"/>
            </a:endParaRPr>
          </a:p>
          <a:p>
            <a:pPr marL="527685" indent="-515620">
              <a:lnSpc>
                <a:spcPts val="2280"/>
              </a:lnSpc>
              <a:spcBef>
                <a:spcPts val="760"/>
              </a:spcBef>
              <a:buClr>
                <a:srgbClr val="5B9BD4"/>
              </a:buClr>
              <a:buSzPct val="80000"/>
              <a:buAutoNum type="arabicPeriod" startAt="5"/>
              <a:tabLst>
                <a:tab pos="527685" algn="l"/>
                <a:tab pos="528320" algn="l"/>
              </a:tabLst>
            </a:pP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Была</a:t>
            </a:r>
            <a:r>
              <a:rPr sz="20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20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проведена</a:t>
            </a:r>
            <a:r>
              <a:rPr sz="2000" spc="-3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оценка</a:t>
            </a:r>
            <a:r>
              <a:rPr sz="20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20" dirty="0">
                <a:solidFill>
                  <a:srgbClr val="252525"/>
                </a:solidFill>
                <a:latin typeface="Arial"/>
                <a:cs typeface="Arial"/>
              </a:rPr>
              <a:t>методологического</a:t>
            </a:r>
            <a:r>
              <a:rPr sz="2000" spc="-6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качества</a:t>
            </a:r>
            <a:r>
              <a:rPr sz="20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исследований,</a:t>
            </a:r>
            <a:r>
              <a:rPr sz="2000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описаны</a:t>
            </a:r>
            <a:r>
              <a:rPr sz="2000" spc="-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2000" spc="-1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25" dirty="0">
                <a:solidFill>
                  <a:srgbClr val="252525"/>
                </a:solidFill>
                <a:latin typeface="Arial"/>
                <a:cs typeface="Arial"/>
              </a:rPr>
              <a:t>ее</a:t>
            </a:r>
            <a:endParaRPr sz="2000">
              <a:latin typeface="Arial"/>
              <a:cs typeface="Arial"/>
            </a:endParaRPr>
          </a:p>
          <a:p>
            <a:pPr marL="527685">
              <a:lnSpc>
                <a:spcPts val="2280"/>
              </a:lnSpc>
            </a:pP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результаты?</a:t>
            </a:r>
            <a:endParaRPr sz="2000">
              <a:latin typeface="Arial"/>
              <a:cs typeface="Arial"/>
            </a:endParaRPr>
          </a:p>
          <a:p>
            <a:pPr marL="527685" indent="-515620">
              <a:lnSpc>
                <a:spcPct val="100000"/>
              </a:lnSpc>
              <a:spcBef>
                <a:spcPts val="755"/>
              </a:spcBef>
              <a:buClr>
                <a:srgbClr val="5B9BD4"/>
              </a:buClr>
              <a:buSzPct val="80000"/>
              <a:buAutoNum type="arabicPeriod" startAt="8"/>
              <a:tabLst>
                <a:tab pos="527685" algn="l"/>
                <a:tab pos="528320" algn="l"/>
              </a:tabLst>
            </a:pP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Учтено</a:t>
            </a:r>
            <a:r>
              <a:rPr sz="2000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2000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качество</a:t>
            </a:r>
            <a:r>
              <a:rPr sz="2000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исследований</a:t>
            </a:r>
            <a:r>
              <a:rPr sz="2000" spc="-7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в</a:t>
            </a:r>
            <a:r>
              <a:rPr sz="2000" spc="-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должной</a:t>
            </a:r>
            <a:r>
              <a:rPr sz="2000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степени</a:t>
            </a:r>
            <a:r>
              <a:rPr sz="2000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при</a:t>
            </a:r>
            <a:r>
              <a:rPr sz="2000" spc="-3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формулировании</a:t>
            </a:r>
            <a:r>
              <a:rPr sz="2000" spc="-7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выводов?</a:t>
            </a:r>
            <a:endParaRPr sz="2000">
              <a:latin typeface="Arial"/>
              <a:cs typeface="Arial"/>
            </a:endParaRPr>
          </a:p>
          <a:p>
            <a:pPr marL="527685" indent="-515620">
              <a:lnSpc>
                <a:spcPts val="2280"/>
              </a:lnSpc>
              <a:spcBef>
                <a:spcPts val="765"/>
              </a:spcBef>
              <a:buClr>
                <a:srgbClr val="5B9BD4"/>
              </a:buClr>
              <a:buSzPct val="80000"/>
              <a:buAutoNum type="arabicPeriod" startAt="8"/>
              <a:tabLst>
                <a:tab pos="527685" algn="l"/>
                <a:tab pos="528320" algn="l"/>
              </a:tabLst>
            </a:pP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Было</a:t>
            </a:r>
            <a:r>
              <a:rPr sz="2000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2000" spc="-3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обобщение</a:t>
            </a:r>
            <a:r>
              <a:rPr sz="2000" spc="-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35" dirty="0">
                <a:solidFill>
                  <a:srgbClr val="252525"/>
                </a:solidFill>
                <a:latin typeface="Arial"/>
                <a:cs typeface="Arial"/>
              </a:rPr>
              <a:t>результатов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исследований</a:t>
            </a:r>
            <a:r>
              <a:rPr sz="2000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проведено</a:t>
            </a:r>
            <a:r>
              <a:rPr sz="2000" spc="-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с</a:t>
            </a:r>
            <a:r>
              <a:rPr sz="20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помощью</a:t>
            </a:r>
            <a:r>
              <a:rPr sz="2000" spc="-1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адекватных</a:t>
            </a:r>
            <a:endParaRPr sz="2000">
              <a:latin typeface="Arial"/>
              <a:cs typeface="Arial"/>
            </a:endParaRPr>
          </a:p>
          <a:p>
            <a:pPr marL="527685">
              <a:lnSpc>
                <a:spcPts val="2280"/>
              </a:lnSpc>
            </a:pP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методов?</a:t>
            </a:r>
            <a:endParaRPr sz="2000">
              <a:latin typeface="Arial"/>
              <a:cs typeface="Arial"/>
            </a:endParaRPr>
          </a:p>
          <a:p>
            <a:pPr marL="527685" indent="-515620">
              <a:lnSpc>
                <a:spcPct val="100000"/>
              </a:lnSpc>
              <a:spcBef>
                <a:spcPts val="760"/>
              </a:spcBef>
              <a:buClr>
                <a:srgbClr val="5B9BD4"/>
              </a:buClr>
              <a:buSzPct val="80000"/>
              <a:buAutoNum type="arabicPeriod" startAt="10"/>
              <a:tabLst>
                <a:tab pos="527685" algn="l"/>
                <a:tab pos="528320" algn="l"/>
              </a:tabLst>
            </a:pP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Была</a:t>
            </a:r>
            <a:r>
              <a:rPr sz="20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2000" spc="-3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проведена</a:t>
            </a:r>
            <a:r>
              <a:rPr sz="2000" spc="-2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оценка</a:t>
            </a:r>
            <a:r>
              <a:rPr sz="2000" spc="-3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публикационного</a:t>
            </a:r>
            <a:r>
              <a:rPr sz="20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смещения?</a:t>
            </a:r>
            <a:endParaRPr sz="2000">
              <a:latin typeface="Arial"/>
              <a:cs typeface="Arial"/>
            </a:endParaRPr>
          </a:p>
          <a:p>
            <a:pPr marL="527685" indent="-515620">
              <a:lnSpc>
                <a:spcPct val="100000"/>
              </a:lnSpc>
              <a:spcBef>
                <a:spcPts val="755"/>
              </a:spcBef>
              <a:buClr>
                <a:srgbClr val="5B9BD4"/>
              </a:buClr>
              <a:buSzPct val="80000"/>
              <a:buAutoNum type="arabicPeriod" startAt="10"/>
              <a:tabLst>
                <a:tab pos="527685" algn="l"/>
                <a:tab pos="528320" algn="l"/>
              </a:tabLst>
            </a:pP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Заявлен</a:t>
            </a:r>
            <a:r>
              <a:rPr sz="2000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20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конфликт</a:t>
            </a:r>
            <a:r>
              <a:rPr sz="20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интересов</a:t>
            </a:r>
            <a:r>
              <a:rPr sz="2000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и</a:t>
            </a:r>
            <a:r>
              <a:rPr sz="20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указаны</a:t>
            </a:r>
            <a:r>
              <a:rPr sz="2000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20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источники</a:t>
            </a:r>
            <a:r>
              <a:rPr sz="2000" spc="-7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финансирования?</a:t>
            </a:r>
            <a:endParaRPr sz="2000">
              <a:latin typeface="Arial"/>
              <a:cs typeface="Arial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469188" y="80594"/>
            <a:ext cx="11159490" cy="953769"/>
          </a:xfrm>
          <a:prstGeom prst="rect">
            <a:avLst/>
          </a:prstGeom>
        </p:spPr>
        <p:txBody>
          <a:bodyPr vert="horz" wrap="square" lIns="0" tIns="67945" rIns="0" bIns="0" rtlCol="0">
            <a:spAutoFit/>
          </a:bodyPr>
          <a:lstStyle/>
          <a:p>
            <a:pPr marL="4091304" marR="5080" indent="-4079240">
              <a:lnSpc>
                <a:spcPts val="3460"/>
              </a:lnSpc>
              <a:spcBef>
                <a:spcPts val="535"/>
              </a:spcBef>
            </a:pPr>
            <a:r>
              <a:rPr sz="3200" spc="-25" dirty="0"/>
              <a:t>Методологическое</a:t>
            </a:r>
            <a:r>
              <a:rPr sz="3200" spc="-120" dirty="0"/>
              <a:t> </a:t>
            </a:r>
            <a:r>
              <a:rPr sz="3200" spc="-10" dirty="0"/>
              <a:t>качество</a:t>
            </a:r>
            <a:r>
              <a:rPr sz="3200" spc="-110" dirty="0"/>
              <a:t> </a:t>
            </a:r>
            <a:r>
              <a:rPr sz="3200" spc="-10" dirty="0"/>
              <a:t>систематических</a:t>
            </a:r>
            <a:r>
              <a:rPr sz="3200" spc="-130" dirty="0"/>
              <a:t> </a:t>
            </a:r>
            <a:r>
              <a:rPr sz="3200" spc="-10" dirty="0"/>
              <a:t>обзоров, мета-анализов</a:t>
            </a:r>
            <a:endParaRPr sz="3200"/>
          </a:p>
        </p:txBody>
      </p:sp>
      <p:sp>
        <p:nvSpPr>
          <p:cNvPr id="4" name="object 4"/>
          <p:cNvSpPr txBox="1"/>
          <p:nvPr/>
        </p:nvSpPr>
        <p:spPr>
          <a:xfrm>
            <a:off x="11164316" y="6431686"/>
            <a:ext cx="110489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latin typeface="Arial"/>
                <a:cs typeface="Arial"/>
              </a:rPr>
              <a:t>9</a:t>
            </a:r>
            <a:endParaRPr sz="1200">
              <a:latin typeface="Arial"/>
              <a:cs typeface="Arial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30035A4-D88C-4254-96A7-FC46F867DF1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6447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44805" y="1188402"/>
            <a:ext cx="11502390" cy="4481195"/>
          </a:xfrm>
          <a:prstGeom prst="rect">
            <a:avLst/>
          </a:prstGeom>
        </p:spPr>
        <p:txBody>
          <a:bodyPr vert="horz" wrap="square" lIns="0" tIns="108585" rIns="0" bIns="0" rtlCol="0">
            <a:spAutoFit/>
          </a:bodyPr>
          <a:lstStyle/>
          <a:p>
            <a:pPr marL="469900" indent="-457200">
              <a:lnSpc>
                <a:spcPct val="100000"/>
              </a:lnSpc>
              <a:spcBef>
                <a:spcPts val="855"/>
              </a:spcBef>
              <a:buClr>
                <a:srgbClr val="5B9BD4"/>
              </a:buClr>
              <a:buSzPct val="80000"/>
              <a:buAutoNum type="arabicPeriod"/>
              <a:tabLst>
                <a:tab pos="469265" algn="l"/>
                <a:tab pos="469900" algn="l"/>
              </a:tabLst>
            </a:pP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Метод</a:t>
            </a:r>
            <a:r>
              <a:rPr sz="2000" spc="-7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рандомизации</a:t>
            </a:r>
            <a:r>
              <a:rPr sz="2000" spc="-9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(систематическая</a:t>
            </a:r>
            <a:r>
              <a:rPr sz="2000" spc="-9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ошибка</a:t>
            </a:r>
            <a:r>
              <a:rPr sz="2000" spc="-7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распределения</a:t>
            </a:r>
            <a:r>
              <a:rPr sz="2000" spc="-7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пациентов</a:t>
            </a:r>
            <a:r>
              <a:rPr sz="2000" spc="-6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по</a:t>
            </a:r>
            <a:r>
              <a:rPr sz="20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группам)</a:t>
            </a:r>
            <a:endParaRPr sz="2000" dirty="0">
              <a:latin typeface="Arial"/>
              <a:cs typeface="Arial"/>
            </a:endParaRPr>
          </a:p>
          <a:p>
            <a:pPr marL="469900" marR="5080" indent="-457200">
              <a:lnSpc>
                <a:spcPts val="2160"/>
              </a:lnSpc>
              <a:spcBef>
                <a:spcPts val="1025"/>
              </a:spcBef>
              <a:buClr>
                <a:srgbClr val="5B9BD4"/>
              </a:buClr>
              <a:buSzPct val="80000"/>
              <a:buAutoNum type="arabicPeriod"/>
              <a:tabLst>
                <a:tab pos="469265" algn="l"/>
                <a:tab pos="469900" algn="l"/>
              </a:tabLst>
            </a:pP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Сокрытие</a:t>
            </a:r>
            <a:r>
              <a:rPr sz="2000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рандомизационной</a:t>
            </a:r>
            <a:r>
              <a:rPr sz="2000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20" dirty="0">
                <a:solidFill>
                  <a:srgbClr val="252525"/>
                </a:solidFill>
                <a:latin typeface="Arial"/>
                <a:cs typeface="Arial"/>
              </a:rPr>
              <a:t>последовательности</a:t>
            </a:r>
            <a:r>
              <a:rPr sz="2000" spc="-6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(систематическая</a:t>
            </a:r>
            <a:r>
              <a:rPr sz="20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ошибка</a:t>
            </a:r>
            <a:r>
              <a:rPr sz="20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распределения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пациентов</a:t>
            </a:r>
            <a:r>
              <a:rPr sz="2000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по</a:t>
            </a:r>
            <a:r>
              <a:rPr sz="2000" spc="-3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группам)</a:t>
            </a:r>
            <a:endParaRPr sz="2000" dirty="0">
              <a:latin typeface="Arial"/>
              <a:cs typeface="Arial"/>
            </a:endParaRPr>
          </a:p>
          <a:p>
            <a:pPr marL="469900" marR="628650" indent="-457200">
              <a:lnSpc>
                <a:spcPct val="90100"/>
              </a:lnSpc>
              <a:spcBef>
                <a:spcPts val="975"/>
              </a:spcBef>
              <a:buClr>
                <a:srgbClr val="5B9BD4"/>
              </a:buClr>
              <a:buSzPct val="80000"/>
              <a:buAutoNum type="arabicPeriod"/>
              <a:tabLst>
                <a:tab pos="469265" algn="l"/>
                <a:tab pos="469900" algn="l"/>
              </a:tabLst>
            </a:pP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«Ослепление»</a:t>
            </a:r>
            <a:r>
              <a:rPr sz="2000" spc="-7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пациентов</a:t>
            </a:r>
            <a:r>
              <a:rPr sz="20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и</a:t>
            </a:r>
            <a:r>
              <a:rPr sz="2000" spc="-2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медперсонала</a:t>
            </a:r>
            <a:r>
              <a:rPr sz="2000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(маскирование/сокрытие</a:t>
            </a:r>
            <a:r>
              <a:rPr sz="2000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20" dirty="0">
                <a:solidFill>
                  <a:srgbClr val="252525"/>
                </a:solidFill>
                <a:latin typeface="Arial"/>
                <a:cs typeface="Arial"/>
              </a:rPr>
              <a:t>вмешательства</a:t>
            </a:r>
            <a:r>
              <a:rPr sz="2000" spc="-6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25" dirty="0">
                <a:solidFill>
                  <a:srgbClr val="252525"/>
                </a:solidFill>
                <a:latin typeface="Arial"/>
                <a:cs typeface="Arial"/>
              </a:rPr>
              <a:t>от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пациентов</a:t>
            </a:r>
            <a:r>
              <a:rPr sz="2000" spc="-7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и</a:t>
            </a:r>
            <a:r>
              <a:rPr sz="20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медперсонала)</a:t>
            </a:r>
            <a:r>
              <a:rPr sz="2000" spc="-8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в</a:t>
            </a:r>
            <a:r>
              <a:rPr sz="2000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процессе</a:t>
            </a:r>
            <a:r>
              <a:rPr sz="2000" spc="-6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лечения</a:t>
            </a:r>
            <a:r>
              <a:rPr sz="2000" spc="-7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(систематическая</a:t>
            </a:r>
            <a:r>
              <a:rPr sz="2000" spc="-7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ошибка</a:t>
            </a:r>
            <a:r>
              <a:rPr sz="2000" spc="-7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исполнения;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может</a:t>
            </a:r>
            <a:r>
              <a:rPr sz="2000" spc="-8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оцениваться</a:t>
            </a:r>
            <a:r>
              <a:rPr sz="2000" spc="-7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20" dirty="0">
                <a:solidFill>
                  <a:srgbClr val="252525"/>
                </a:solidFill>
                <a:latin typeface="Arial"/>
                <a:cs typeface="Arial"/>
              </a:rPr>
              <a:t>отдельно</a:t>
            </a:r>
            <a:r>
              <a:rPr sz="2000" spc="-6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для</a:t>
            </a:r>
            <a:r>
              <a:rPr sz="2000" spc="-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каждого</a:t>
            </a:r>
            <a:r>
              <a:rPr sz="2000" spc="-7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исхода)</a:t>
            </a:r>
            <a:endParaRPr sz="2000" dirty="0">
              <a:latin typeface="Arial"/>
              <a:cs typeface="Arial"/>
            </a:endParaRPr>
          </a:p>
          <a:p>
            <a:pPr marL="469900" marR="970915" indent="-457200">
              <a:lnSpc>
                <a:spcPts val="2160"/>
              </a:lnSpc>
              <a:spcBef>
                <a:spcPts val="1030"/>
              </a:spcBef>
              <a:buClr>
                <a:srgbClr val="5B9BD4"/>
              </a:buClr>
              <a:buSzPct val="80000"/>
              <a:buAutoNum type="arabicPeriod"/>
              <a:tabLst>
                <a:tab pos="469265" algn="l"/>
                <a:tab pos="469900" algn="l"/>
              </a:tabLst>
            </a:pP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«Ослепление»</a:t>
            </a:r>
            <a:r>
              <a:rPr sz="2000" spc="-8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лиц,</a:t>
            </a:r>
            <a:r>
              <a:rPr sz="2000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оценивающих</a:t>
            </a:r>
            <a:r>
              <a:rPr sz="2000" spc="-7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эффект</a:t>
            </a:r>
            <a:r>
              <a:rPr sz="20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20" dirty="0">
                <a:solidFill>
                  <a:srgbClr val="252525"/>
                </a:solidFill>
                <a:latin typeface="Arial"/>
                <a:cs typeface="Arial"/>
              </a:rPr>
              <a:t>вмешательства</a:t>
            </a:r>
            <a:r>
              <a:rPr sz="2000" spc="-7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(систематическая</a:t>
            </a:r>
            <a:r>
              <a:rPr sz="2000" spc="-6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ошибка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выявления</a:t>
            </a:r>
            <a:r>
              <a:rPr sz="2000" spc="-9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исходов;</a:t>
            </a:r>
            <a:r>
              <a:rPr sz="2000" spc="-9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может</a:t>
            </a:r>
            <a:r>
              <a:rPr sz="2000" spc="-8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оцениваться</a:t>
            </a:r>
            <a:r>
              <a:rPr sz="2000" spc="-9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20" dirty="0">
                <a:solidFill>
                  <a:srgbClr val="252525"/>
                </a:solidFill>
                <a:latin typeface="Arial"/>
                <a:cs typeface="Arial"/>
              </a:rPr>
              <a:t>отдельно</a:t>
            </a:r>
            <a:r>
              <a:rPr sz="2000" spc="-8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для</a:t>
            </a:r>
            <a:r>
              <a:rPr sz="2000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каждого</a:t>
            </a:r>
            <a:r>
              <a:rPr sz="2000" spc="-8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исхода)</a:t>
            </a:r>
            <a:endParaRPr sz="2000" dirty="0">
              <a:latin typeface="Arial"/>
              <a:cs typeface="Arial"/>
            </a:endParaRPr>
          </a:p>
          <a:p>
            <a:pPr marL="469900" marR="1311275" indent="-457200">
              <a:lnSpc>
                <a:spcPts val="2160"/>
              </a:lnSpc>
              <a:spcBef>
                <a:spcPts val="994"/>
              </a:spcBef>
              <a:buClr>
                <a:srgbClr val="5B9BD4"/>
              </a:buClr>
              <a:buSzPct val="80000"/>
              <a:buAutoNum type="arabicPeriod"/>
              <a:tabLst>
                <a:tab pos="469265" algn="l"/>
                <a:tab pos="469900" algn="l"/>
              </a:tabLst>
            </a:pP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Пропуски</a:t>
            </a:r>
            <a:r>
              <a:rPr sz="2000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в</a:t>
            </a:r>
            <a:r>
              <a:rPr sz="2000" spc="-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данных</a:t>
            </a:r>
            <a:r>
              <a:rPr sz="2000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об</a:t>
            </a:r>
            <a:r>
              <a:rPr sz="2000" spc="-3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исходах</a:t>
            </a:r>
            <a:r>
              <a:rPr sz="2000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(систематическая</a:t>
            </a:r>
            <a:r>
              <a:rPr sz="2000" spc="-7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ошибка</a:t>
            </a:r>
            <a:r>
              <a:rPr sz="2000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пропуска</a:t>
            </a:r>
            <a:r>
              <a:rPr sz="20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данных;</a:t>
            </a:r>
            <a:r>
              <a:rPr sz="2000" spc="-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может оцениваться</a:t>
            </a:r>
            <a:r>
              <a:rPr sz="2000" spc="-7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20" dirty="0">
                <a:solidFill>
                  <a:srgbClr val="252525"/>
                </a:solidFill>
                <a:latin typeface="Arial"/>
                <a:cs typeface="Arial"/>
              </a:rPr>
              <a:t>отдельно</a:t>
            </a:r>
            <a:r>
              <a:rPr sz="20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для</a:t>
            </a:r>
            <a:r>
              <a:rPr sz="20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каждого</a:t>
            </a:r>
            <a:r>
              <a:rPr sz="2000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исхода)</a:t>
            </a:r>
            <a:endParaRPr sz="2000" dirty="0">
              <a:latin typeface="Arial"/>
              <a:cs typeface="Arial"/>
            </a:endParaRPr>
          </a:p>
          <a:p>
            <a:pPr marL="469900" indent="-457200">
              <a:lnSpc>
                <a:spcPts val="2280"/>
              </a:lnSpc>
              <a:spcBef>
                <a:spcPts val="735"/>
              </a:spcBef>
              <a:buClr>
                <a:srgbClr val="5B9BD4"/>
              </a:buClr>
              <a:buSzPct val="80000"/>
              <a:buAutoNum type="arabicPeriod"/>
              <a:tabLst>
                <a:tab pos="469265" algn="l"/>
                <a:tab pos="469900" algn="l"/>
              </a:tabLst>
            </a:pP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Представление</a:t>
            </a:r>
            <a:r>
              <a:rPr sz="2000" spc="-7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35" dirty="0">
                <a:solidFill>
                  <a:srgbClr val="252525"/>
                </a:solidFill>
                <a:latin typeface="Arial"/>
                <a:cs typeface="Arial"/>
              </a:rPr>
              <a:t>результатов</a:t>
            </a:r>
            <a:r>
              <a:rPr sz="20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исследования</a:t>
            </a:r>
            <a:r>
              <a:rPr sz="2000" spc="-7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(систематическая</a:t>
            </a:r>
            <a:r>
              <a:rPr sz="2000" spc="-7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ошибка</a:t>
            </a:r>
            <a:r>
              <a:rPr sz="20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представления</a:t>
            </a:r>
            <a:endParaRPr sz="2000" dirty="0">
              <a:latin typeface="Arial"/>
              <a:cs typeface="Arial"/>
            </a:endParaRPr>
          </a:p>
          <a:p>
            <a:pPr marL="469900">
              <a:lnSpc>
                <a:spcPts val="2280"/>
              </a:lnSpc>
            </a:pP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результатов)</a:t>
            </a:r>
            <a:endParaRPr sz="2000" dirty="0">
              <a:latin typeface="Arial"/>
              <a:cs typeface="Arial"/>
            </a:endParaRPr>
          </a:p>
          <a:p>
            <a:pPr marL="469900" indent="-457200">
              <a:lnSpc>
                <a:spcPct val="100000"/>
              </a:lnSpc>
              <a:spcBef>
                <a:spcPts val="760"/>
              </a:spcBef>
              <a:buClr>
                <a:srgbClr val="5B9BD4"/>
              </a:buClr>
              <a:buSzPct val="80000"/>
              <a:buAutoNum type="arabicPeriod" startAt="7"/>
              <a:tabLst>
                <a:tab pos="469265" algn="l"/>
                <a:tab pos="469900" algn="l"/>
              </a:tabLst>
            </a:pP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Другие</a:t>
            </a:r>
            <a:r>
              <a:rPr sz="2000" spc="-7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возможные</a:t>
            </a:r>
            <a:r>
              <a:rPr sz="2000" spc="-8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источники</a:t>
            </a:r>
            <a:r>
              <a:rPr sz="2000" spc="-8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систематических</a:t>
            </a:r>
            <a:r>
              <a:rPr sz="2000" spc="-8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ошибок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sldNum" sz="quarter" idx="7"/>
          </p:nvPr>
        </p:nvSpPr>
        <p:spPr>
          <a:xfrm>
            <a:off x="11053571" y="6446122"/>
            <a:ext cx="259715" cy="196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kern="0"/>
            </a:defPPr>
            <a:lvl1pPr>
              <a:defRPr sz="1200" b="0" i="0">
                <a:solidFill>
                  <a:srgbClr val="8496AF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lang="ru-RU" spc="-25" smtClean="0">
                <a:solidFill>
                  <a:srgbClr val="000000"/>
                </a:solidFill>
              </a:rPr>
              <a:pPr marL="38100">
                <a:lnSpc>
                  <a:spcPts val="1425"/>
                </a:lnSpc>
              </a:pPr>
              <a:t>21</a:t>
            </a:fld>
            <a:endParaRPr spc="-25" dirty="0">
              <a:solidFill>
                <a:srgbClr val="000000"/>
              </a:solidFill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457200" y="73533"/>
            <a:ext cx="9404477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spc="-10" dirty="0"/>
              <a:t>Методологическое</a:t>
            </a:r>
            <a:r>
              <a:rPr sz="3600" spc="-200" dirty="0"/>
              <a:t> </a:t>
            </a:r>
            <a:r>
              <a:rPr sz="3600" dirty="0"/>
              <a:t>качество</a:t>
            </a:r>
            <a:r>
              <a:rPr sz="3600" spc="-210" dirty="0"/>
              <a:t> </a:t>
            </a:r>
            <a:r>
              <a:rPr sz="3600" spc="-25" dirty="0"/>
              <a:t>РКИ</a:t>
            </a:r>
            <a:endParaRPr sz="3600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D924DD0-1197-4888-842F-F4BBCD49070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937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71537" y="215663"/>
            <a:ext cx="10811891" cy="87395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800" spc="-30" dirty="0"/>
              <a:t>Методологическое</a:t>
            </a:r>
            <a:r>
              <a:rPr sz="2800" spc="-125" dirty="0"/>
              <a:t> </a:t>
            </a:r>
            <a:r>
              <a:rPr sz="2800" spc="-10" dirty="0"/>
              <a:t>качество</a:t>
            </a:r>
            <a:r>
              <a:rPr sz="2800" spc="-125" dirty="0"/>
              <a:t> </a:t>
            </a:r>
            <a:r>
              <a:rPr sz="2800" spc="-10" dirty="0"/>
              <a:t>когортных</a:t>
            </a:r>
            <a:r>
              <a:rPr sz="2800" spc="-110" dirty="0"/>
              <a:t> </a:t>
            </a:r>
            <a:r>
              <a:rPr sz="2800" spc="-10" dirty="0"/>
              <a:t>исследований</a:t>
            </a:r>
            <a:endParaRPr sz="2800" dirty="0"/>
          </a:p>
        </p:txBody>
      </p:sp>
      <p:sp>
        <p:nvSpPr>
          <p:cNvPr id="4" name="object 4"/>
          <p:cNvSpPr txBox="1">
            <a:spLocks noGrp="1"/>
          </p:cNvSpPr>
          <p:nvPr>
            <p:ph type="sldNum" sz="quarter" idx="7"/>
          </p:nvPr>
        </p:nvSpPr>
        <p:spPr>
          <a:xfrm>
            <a:off x="11053571" y="6446122"/>
            <a:ext cx="259715" cy="196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kern="0"/>
            </a:defPPr>
            <a:lvl1pPr>
              <a:defRPr sz="1200" b="0" i="0">
                <a:solidFill>
                  <a:srgbClr val="8496AF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lang="ru-RU" spc="-25" smtClean="0">
                <a:solidFill>
                  <a:srgbClr val="000000"/>
                </a:solidFill>
              </a:rPr>
              <a:pPr marL="38100">
                <a:lnSpc>
                  <a:spcPts val="1425"/>
                </a:lnSpc>
              </a:pPr>
              <a:t>22</a:t>
            </a:fld>
            <a:endParaRPr spc="-25" dirty="0">
              <a:solidFill>
                <a:srgbClr val="000000"/>
              </a:solidFill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78739" y="1160500"/>
            <a:ext cx="11367770" cy="3784600"/>
          </a:xfrm>
          <a:prstGeom prst="rect">
            <a:avLst/>
          </a:prstGeom>
        </p:spPr>
        <p:txBody>
          <a:bodyPr vert="horz" wrap="square" lIns="0" tIns="108585" rIns="0" bIns="0" rtlCol="0">
            <a:spAutoFit/>
          </a:bodyPr>
          <a:lstStyle/>
          <a:p>
            <a:pPr marL="469900" indent="-457200">
              <a:lnSpc>
                <a:spcPct val="100000"/>
              </a:lnSpc>
              <a:spcBef>
                <a:spcPts val="855"/>
              </a:spcBef>
              <a:buClr>
                <a:srgbClr val="5B9BD4"/>
              </a:buClr>
              <a:buSzPct val="80000"/>
              <a:buAutoNum type="arabicPeriod"/>
              <a:tabLst>
                <a:tab pos="469265" algn="l"/>
                <a:tab pos="469900" algn="l"/>
              </a:tabLst>
            </a:pP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Является</a:t>
            </a:r>
            <a:r>
              <a:rPr sz="2000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2000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экспонированная</a:t>
            </a:r>
            <a:r>
              <a:rPr sz="2000" spc="-9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когорта</a:t>
            </a:r>
            <a:r>
              <a:rPr sz="2000" spc="-7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(подвергшаяся</a:t>
            </a:r>
            <a:r>
              <a:rPr sz="2000" spc="-7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фактору</a:t>
            </a:r>
            <a:r>
              <a:rPr sz="2000" spc="-7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риска)</a:t>
            </a:r>
            <a:r>
              <a:rPr sz="2000" spc="-7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репрезентативной?</a:t>
            </a:r>
            <a:endParaRPr sz="2000">
              <a:latin typeface="Arial"/>
              <a:cs typeface="Arial"/>
            </a:endParaRPr>
          </a:p>
          <a:p>
            <a:pPr marL="469900" marR="5080" indent="-457200">
              <a:lnSpc>
                <a:spcPts val="2160"/>
              </a:lnSpc>
              <a:spcBef>
                <a:spcPts val="1025"/>
              </a:spcBef>
              <a:buClr>
                <a:srgbClr val="5B9BD4"/>
              </a:buClr>
              <a:buSzPct val="80000"/>
              <a:buAutoNum type="arabicPeriod"/>
              <a:tabLst>
                <a:tab pos="469265" algn="l"/>
                <a:tab pos="469900" algn="l"/>
              </a:tabLst>
            </a:pP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Каким</a:t>
            </a:r>
            <a:r>
              <a:rPr sz="20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образом</a:t>
            </a:r>
            <a:r>
              <a:rPr sz="2000" spc="-6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была</a:t>
            </a:r>
            <a:r>
              <a:rPr sz="20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сформирована</a:t>
            </a:r>
            <a:r>
              <a:rPr sz="2000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неэкспонированная</a:t>
            </a:r>
            <a:r>
              <a:rPr sz="2000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когорта</a:t>
            </a:r>
            <a:r>
              <a:rPr sz="2000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(не</a:t>
            </a:r>
            <a:r>
              <a:rPr sz="20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подвергшаяся</a:t>
            </a:r>
            <a:r>
              <a:rPr sz="20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фактору риска)?</a:t>
            </a:r>
            <a:endParaRPr sz="2000">
              <a:latin typeface="Arial"/>
              <a:cs typeface="Arial"/>
            </a:endParaRPr>
          </a:p>
          <a:p>
            <a:pPr marL="469900" indent="-457200">
              <a:lnSpc>
                <a:spcPct val="100000"/>
              </a:lnSpc>
              <a:spcBef>
                <a:spcPts val="740"/>
              </a:spcBef>
              <a:buClr>
                <a:srgbClr val="5B9BD4"/>
              </a:buClr>
              <a:buSzPct val="80000"/>
              <a:buAutoNum type="arabicPeriod"/>
              <a:tabLst>
                <a:tab pos="469265" algn="l"/>
                <a:tab pos="469900" algn="l"/>
              </a:tabLst>
            </a:pP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Каким</a:t>
            </a:r>
            <a:r>
              <a:rPr sz="2000" spc="-7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образом</a:t>
            </a:r>
            <a:r>
              <a:rPr sz="2000" spc="-7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был</a:t>
            </a:r>
            <a:r>
              <a:rPr sz="2000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установлен</a:t>
            </a:r>
            <a:r>
              <a:rPr sz="2000" spc="-7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факт</a:t>
            </a:r>
            <a:r>
              <a:rPr sz="20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воздействия</a:t>
            </a:r>
            <a:r>
              <a:rPr sz="2000" spc="-8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изучаемого</a:t>
            </a:r>
            <a:r>
              <a:rPr sz="2000" spc="-7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фактора?</a:t>
            </a:r>
            <a:endParaRPr sz="2000">
              <a:latin typeface="Arial"/>
              <a:cs typeface="Arial"/>
            </a:endParaRPr>
          </a:p>
          <a:p>
            <a:pPr marL="469900" indent="-457200">
              <a:lnSpc>
                <a:spcPct val="100000"/>
              </a:lnSpc>
              <a:spcBef>
                <a:spcPts val="755"/>
              </a:spcBef>
              <a:buClr>
                <a:srgbClr val="5B9BD4"/>
              </a:buClr>
              <a:buSzPct val="80000"/>
              <a:buAutoNum type="arabicPeriod"/>
              <a:tabLst>
                <a:tab pos="469265" algn="l"/>
                <a:tab pos="469900" algn="l"/>
              </a:tabLst>
            </a:pP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Было</a:t>
            </a:r>
            <a:r>
              <a:rPr sz="2000" spc="-6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20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подтверждено</a:t>
            </a:r>
            <a:r>
              <a:rPr sz="2000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отсутствие</a:t>
            </a:r>
            <a:r>
              <a:rPr sz="20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интересующего</a:t>
            </a:r>
            <a:r>
              <a:rPr sz="2000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исхода</a:t>
            </a:r>
            <a:r>
              <a:rPr sz="20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в</a:t>
            </a:r>
            <a:r>
              <a:rPr sz="20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начале</a:t>
            </a:r>
            <a:r>
              <a:rPr sz="20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исследования?</a:t>
            </a:r>
            <a:endParaRPr sz="2000">
              <a:latin typeface="Arial"/>
              <a:cs typeface="Arial"/>
            </a:endParaRPr>
          </a:p>
          <a:p>
            <a:pPr marL="469900" indent="-457200">
              <a:lnSpc>
                <a:spcPct val="100000"/>
              </a:lnSpc>
              <a:spcBef>
                <a:spcPts val="755"/>
              </a:spcBef>
              <a:buClr>
                <a:srgbClr val="5B9BD4"/>
              </a:buClr>
              <a:buSzPct val="80000"/>
              <a:buAutoNum type="arabicPeriod"/>
              <a:tabLst>
                <a:tab pos="469265" algn="l"/>
                <a:tab pos="469900" algn="l"/>
              </a:tabLst>
            </a:pP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Являются</a:t>
            </a:r>
            <a:r>
              <a:rPr sz="2000" spc="-7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2000" spc="-7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сравниваемые</a:t>
            </a:r>
            <a:r>
              <a:rPr sz="2000" spc="-10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когорты</a:t>
            </a:r>
            <a:r>
              <a:rPr sz="2000" spc="-8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сопоставимыми?</a:t>
            </a:r>
            <a:endParaRPr sz="2000">
              <a:latin typeface="Arial"/>
              <a:cs typeface="Arial"/>
            </a:endParaRPr>
          </a:p>
          <a:p>
            <a:pPr marL="469900" indent="-457200">
              <a:lnSpc>
                <a:spcPct val="100000"/>
              </a:lnSpc>
              <a:spcBef>
                <a:spcPts val="770"/>
              </a:spcBef>
              <a:buClr>
                <a:srgbClr val="5B9BD4"/>
              </a:buClr>
              <a:buSzPct val="80000"/>
              <a:buAutoNum type="arabicPeriod"/>
              <a:tabLst>
                <a:tab pos="469265" algn="l"/>
                <a:tab pos="469900" algn="l"/>
              </a:tabLst>
            </a:pP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Какой</a:t>
            </a:r>
            <a:r>
              <a:rPr sz="2000" spc="-8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источник</a:t>
            </a:r>
            <a:r>
              <a:rPr sz="2000" spc="-8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информации</a:t>
            </a:r>
            <a:r>
              <a:rPr sz="2000" spc="-9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об</a:t>
            </a:r>
            <a:r>
              <a:rPr sz="20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исходах</a:t>
            </a:r>
            <a:r>
              <a:rPr sz="2000" spc="-7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использовался?</a:t>
            </a:r>
            <a:endParaRPr sz="2000">
              <a:latin typeface="Arial"/>
              <a:cs typeface="Arial"/>
            </a:endParaRPr>
          </a:p>
          <a:p>
            <a:pPr marL="469900" marR="285750" indent="-457200">
              <a:lnSpc>
                <a:spcPts val="2160"/>
              </a:lnSpc>
              <a:spcBef>
                <a:spcPts val="1030"/>
              </a:spcBef>
              <a:buClr>
                <a:srgbClr val="5B9BD4"/>
              </a:buClr>
              <a:buSzPct val="80000"/>
              <a:buAutoNum type="arabicPeriod"/>
              <a:tabLst>
                <a:tab pos="469265" algn="l"/>
                <a:tab pos="469900" algn="l"/>
              </a:tabLst>
            </a:pP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Была</a:t>
            </a:r>
            <a:r>
              <a:rPr sz="20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2000" spc="-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20" dirty="0">
                <a:solidFill>
                  <a:srgbClr val="252525"/>
                </a:solidFill>
                <a:latin typeface="Arial"/>
                <a:cs typeface="Arial"/>
              </a:rPr>
              <a:t>продолжительность</a:t>
            </a:r>
            <a:r>
              <a:rPr sz="2000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наблюдения</a:t>
            </a:r>
            <a:r>
              <a:rPr sz="20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достаточной</a:t>
            </a:r>
            <a:r>
              <a:rPr sz="20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для</a:t>
            </a:r>
            <a:r>
              <a:rPr sz="2000" spc="-2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возникновения</a:t>
            </a:r>
            <a:r>
              <a:rPr sz="20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интересующих исходов?</a:t>
            </a:r>
            <a:endParaRPr sz="2000">
              <a:latin typeface="Arial"/>
              <a:cs typeface="Arial"/>
            </a:endParaRPr>
          </a:p>
          <a:p>
            <a:pPr marL="469900" indent="-457200">
              <a:lnSpc>
                <a:spcPct val="100000"/>
              </a:lnSpc>
              <a:spcBef>
                <a:spcPts val="725"/>
              </a:spcBef>
              <a:buClr>
                <a:srgbClr val="5B9BD4"/>
              </a:buClr>
              <a:buSzPct val="80000"/>
              <a:buAutoNum type="arabicPeriod"/>
              <a:tabLst>
                <a:tab pos="469265" algn="l"/>
                <a:tab pos="469900" algn="l"/>
              </a:tabLst>
            </a:pP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Каково</a:t>
            </a:r>
            <a:r>
              <a:rPr sz="2000" spc="-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было</a:t>
            </a:r>
            <a:r>
              <a:rPr sz="2000" spc="-3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dirty="0">
                <a:solidFill>
                  <a:srgbClr val="252525"/>
                </a:solidFill>
                <a:latin typeface="Arial"/>
                <a:cs typeface="Arial"/>
              </a:rPr>
              <a:t>выбывание</a:t>
            </a:r>
            <a:r>
              <a:rPr sz="2000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000" spc="-10" dirty="0">
                <a:solidFill>
                  <a:srgbClr val="252525"/>
                </a:solidFill>
                <a:latin typeface="Arial"/>
                <a:cs typeface="Arial"/>
              </a:rPr>
              <a:t>пациентов?</a:t>
            </a:r>
            <a:endParaRPr sz="2000">
              <a:latin typeface="Arial"/>
              <a:cs typeface="Arial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11514C5-9CAA-43C7-91C7-4E57039980A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6859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22845" y="0"/>
            <a:ext cx="10319383" cy="99770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200" spc="-10" dirty="0"/>
              <a:t>Методологическое</a:t>
            </a:r>
            <a:r>
              <a:rPr sz="3200" spc="-140" dirty="0"/>
              <a:t> </a:t>
            </a:r>
            <a:r>
              <a:rPr sz="3200" dirty="0"/>
              <a:t>качество</a:t>
            </a:r>
            <a:r>
              <a:rPr sz="3200" spc="-150" dirty="0"/>
              <a:t> </a:t>
            </a:r>
            <a:r>
              <a:rPr sz="3200" dirty="0"/>
              <a:t>одномоментных</a:t>
            </a:r>
            <a:r>
              <a:rPr sz="3200" spc="-140" dirty="0"/>
              <a:t> </a:t>
            </a:r>
            <a:r>
              <a:rPr sz="3200" spc="-10" dirty="0"/>
              <a:t>исследований</a:t>
            </a:r>
          </a:p>
        </p:txBody>
      </p:sp>
      <p:sp>
        <p:nvSpPr>
          <p:cNvPr id="4" name="object 4"/>
          <p:cNvSpPr txBox="1">
            <a:spLocks noGrp="1"/>
          </p:cNvSpPr>
          <p:nvPr>
            <p:ph type="sldNum" sz="quarter" idx="7"/>
          </p:nvPr>
        </p:nvSpPr>
        <p:spPr>
          <a:xfrm>
            <a:off x="11053571" y="6446122"/>
            <a:ext cx="259715" cy="196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kern="0"/>
            </a:defPPr>
            <a:lvl1pPr>
              <a:defRPr sz="1200" b="0" i="0">
                <a:solidFill>
                  <a:srgbClr val="8496AF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lang="ru-RU" spc="-25" smtClean="0">
                <a:solidFill>
                  <a:srgbClr val="000000"/>
                </a:solidFill>
              </a:rPr>
              <a:pPr marL="38100">
                <a:lnSpc>
                  <a:spcPts val="1425"/>
                </a:lnSpc>
              </a:pPr>
              <a:t>23</a:t>
            </a:fld>
            <a:endParaRPr spc="-25" dirty="0">
              <a:solidFill>
                <a:srgbClr val="000000"/>
              </a:solidFill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87365" y="1074384"/>
            <a:ext cx="11781790" cy="5373370"/>
          </a:xfrm>
          <a:prstGeom prst="rect">
            <a:avLst/>
          </a:prstGeom>
        </p:spPr>
        <p:txBody>
          <a:bodyPr vert="horz" wrap="square" lIns="0" tIns="111760" rIns="0" bIns="0" rtlCol="0">
            <a:spAutoFit/>
          </a:bodyPr>
          <a:lstStyle/>
          <a:p>
            <a:pPr marL="469900" indent="-457200">
              <a:lnSpc>
                <a:spcPct val="100000"/>
              </a:lnSpc>
              <a:spcBef>
                <a:spcPts val="880"/>
              </a:spcBef>
              <a:buClr>
                <a:srgbClr val="5B9BD4"/>
              </a:buClr>
              <a:buSzPct val="80555"/>
              <a:buAutoNum type="arabicPeriod"/>
              <a:tabLst>
                <a:tab pos="469265" algn="l"/>
                <a:tab pos="469900" algn="l"/>
              </a:tabLst>
            </a:pP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Была</a:t>
            </a:r>
            <a:r>
              <a:rPr sz="1800" spc="-1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18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выборка</a:t>
            </a:r>
            <a:r>
              <a:rPr sz="1800" spc="-1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пациентов</a:t>
            </a:r>
            <a:r>
              <a:rPr sz="1800" spc="-3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252525"/>
                </a:solidFill>
                <a:latin typeface="Arial"/>
                <a:cs typeface="Arial"/>
              </a:rPr>
              <a:t>репрезентативной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по</a:t>
            </a:r>
            <a:r>
              <a:rPr sz="1800" spc="-2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отношению</a:t>
            </a:r>
            <a:r>
              <a:rPr sz="1800" spc="-2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к</a:t>
            </a:r>
            <a:r>
              <a:rPr sz="1800" spc="-2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252525"/>
                </a:solidFill>
                <a:latin typeface="Arial"/>
                <a:cs typeface="Arial"/>
              </a:rPr>
              <a:t>целевой</a:t>
            </a:r>
            <a:r>
              <a:rPr sz="1800" spc="-2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252525"/>
                </a:solidFill>
                <a:latin typeface="Arial"/>
                <a:cs typeface="Arial"/>
              </a:rPr>
              <a:t>популяции?</a:t>
            </a:r>
            <a:endParaRPr sz="1800" dirty="0">
              <a:latin typeface="Arial"/>
              <a:cs typeface="Arial"/>
            </a:endParaRPr>
          </a:p>
          <a:p>
            <a:pPr marL="469900" indent="-457200">
              <a:lnSpc>
                <a:spcPct val="100000"/>
              </a:lnSpc>
              <a:spcBef>
                <a:spcPts val="780"/>
              </a:spcBef>
              <a:buClr>
                <a:srgbClr val="5B9BD4"/>
              </a:buClr>
              <a:buSzPct val="80555"/>
              <a:buAutoNum type="arabicPeriod"/>
              <a:tabLst>
                <a:tab pos="469265" algn="l"/>
                <a:tab pos="469900" algn="l"/>
              </a:tabLst>
            </a:pP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Достаточно</a:t>
            </a:r>
            <a:r>
              <a:rPr sz="1800" spc="-6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1800" spc="-8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хорошо</a:t>
            </a:r>
            <a:r>
              <a:rPr sz="1800" spc="-2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референсный</a:t>
            </a:r>
            <a:r>
              <a:rPr sz="18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тест</a:t>
            </a:r>
            <a:r>
              <a:rPr sz="1800" spc="-6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252525"/>
                </a:solidFill>
                <a:latin typeface="Arial"/>
                <a:cs typeface="Arial"/>
              </a:rPr>
              <a:t>классифицирует</a:t>
            </a:r>
            <a:r>
              <a:rPr sz="18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целевые</a:t>
            </a:r>
            <a:r>
              <a:rPr sz="18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252525"/>
                </a:solidFill>
                <a:latin typeface="Arial"/>
                <a:cs typeface="Arial"/>
              </a:rPr>
              <a:t>состояния?</a:t>
            </a:r>
            <a:endParaRPr sz="1800" dirty="0">
              <a:latin typeface="Arial"/>
              <a:cs typeface="Arial"/>
            </a:endParaRPr>
          </a:p>
          <a:p>
            <a:pPr marL="469900" marR="770255" indent="-457200">
              <a:lnSpc>
                <a:spcPts val="1939"/>
              </a:lnSpc>
              <a:spcBef>
                <a:spcPts val="1040"/>
              </a:spcBef>
              <a:buClr>
                <a:srgbClr val="5B9BD4"/>
              </a:buClr>
              <a:buSzPct val="80555"/>
              <a:buAutoNum type="arabicPeriod"/>
              <a:tabLst>
                <a:tab pos="469265" algn="l"/>
                <a:tab pos="469900" algn="l"/>
              </a:tabLst>
            </a:pP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Были</a:t>
            </a:r>
            <a:r>
              <a:rPr sz="1800" spc="-6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1800" spc="-6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промежуток</a:t>
            </a:r>
            <a:r>
              <a:rPr sz="1800" spc="-2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времени</a:t>
            </a:r>
            <a:r>
              <a:rPr sz="1800" spc="-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между</a:t>
            </a:r>
            <a:r>
              <a:rPr sz="18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выполнением</a:t>
            </a:r>
            <a:r>
              <a:rPr sz="1800" spc="-2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референсного</a:t>
            </a:r>
            <a:r>
              <a:rPr sz="1800" spc="-3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и</a:t>
            </a:r>
            <a:r>
              <a:rPr sz="1800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изучаемого</a:t>
            </a:r>
            <a:r>
              <a:rPr sz="1800" spc="-2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тестов</a:t>
            </a:r>
            <a:r>
              <a:rPr sz="18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252525"/>
                </a:solidFill>
                <a:latin typeface="Arial"/>
                <a:cs typeface="Arial"/>
              </a:rPr>
              <a:t>достаточно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коротким,</a:t>
            </a:r>
            <a:r>
              <a:rPr sz="1800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чтобы</a:t>
            </a:r>
            <a:r>
              <a:rPr sz="18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быть</a:t>
            </a:r>
            <a:r>
              <a:rPr sz="1800" spc="-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уверенным,</a:t>
            </a:r>
            <a:r>
              <a:rPr sz="1800" spc="1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что</a:t>
            </a:r>
            <a:r>
              <a:rPr sz="1800" spc="-3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изучаемое</a:t>
            </a:r>
            <a:r>
              <a:rPr sz="1800" spc="-1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состояние</a:t>
            </a:r>
            <a:r>
              <a:rPr sz="1800" spc="-2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не</a:t>
            </a:r>
            <a:r>
              <a:rPr sz="18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изменилось</a:t>
            </a:r>
            <a:r>
              <a:rPr sz="1800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за</a:t>
            </a:r>
            <a:r>
              <a:rPr sz="18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это</a:t>
            </a:r>
            <a:r>
              <a:rPr sz="1800" spc="-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252525"/>
                </a:solidFill>
                <a:latin typeface="Arial"/>
                <a:cs typeface="Arial"/>
              </a:rPr>
              <a:t>время?</a:t>
            </a:r>
            <a:endParaRPr sz="1800" dirty="0">
              <a:latin typeface="Arial"/>
              <a:cs typeface="Arial"/>
            </a:endParaRPr>
          </a:p>
          <a:p>
            <a:pPr marL="469900" indent="-457200">
              <a:lnSpc>
                <a:spcPct val="100000"/>
              </a:lnSpc>
              <a:spcBef>
                <a:spcPts val="755"/>
              </a:spcBef>
              <a:buClr>
                <a:srgbClr val="5B9BD4"/>
              </a:buClr>
              <a:buSzPct val="80555"/>
              <a:buAutoNum type="arabicPeriod"/>
              <a:tabLst>
                <a:tab pos="469265" algn="l"/>
                <a:tab pos="469900" algn="l"/>
              </a:tabLst>
            </a:pP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Выполнена</a:t>
            </a:r>
            <a:r>
              <a:rPr sz="1800" spc="-3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18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верификация</a:t>
            </a:r>
            <a:r>
              <a:rPr sz="18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референсным</a:t>
            </a:r>
            <a:r>
              <a:rPr sz="1800" spc="1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тестом</a:t>
            </a:r>
            <a:r>
              <a:rPr sz="18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для</a:t>
            </a:r>
            <a:r>
              <a:rPr sz="18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всей</a:t>
            </a:r>
            <a:r>
              <a:rPr sz="1800" spc="-2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выборки</a:t>
            </a:r>
            <a:r>
              <a:rPr sz="1800" spc="-3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или</a:t>
            </a:r>
            <a:r>
              <a:rPr sz="18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ее</a:t>
            </a:r>
            <a:r>
              <a:rPr sz="1800" spc="-2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случайной</a:t>
            </a:r>
            <a:r>
              <a:rPr sz="1800" spc="-10" dirty="0">
                <a:solidFill>
                  <a:srgbClr val="252525"/>
                </a:solidFill>
                <a:latin typeface="Arial"/>
                <a:cs typeface="Arial"/>
              </a:rPr>
              <a:t> части?</a:t>
            </a:r>
            <a:endParaRPr sz="1800" dirty="0">
              <a:latin typeface="Arial"/>
              <a:cs typeface="Arial"/>
            </a:endParaRPr>
          </a:p>
          <a:p>
            <a:pPr marL="469900" marR="116839" indent="-457200">
              <a:lnSpc>
                <a:spcPts val="1950"/>
              </a:lnSpc>
              <a:spcBef>
                <a:spcPts val="1019"/>
              </a:spcBef>
              <a:buClr>
                <a:srgbClr val="5B9BD4"/>
              </a:buClr>
              <a:buSzPct val="80555"/>
              <a:buAutoNum type="arabicPeriod"/>
              <a:tabLst>
                <a:tab pos="469265" algn="l"/>
                <a:tab pos="469900" algn="l"/>
              </a:tabLst>
            </a:pP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Обследованы</a:t>
            </a:r>
            <a:r>
              <a:rPr sz="1800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18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пациенты</a:t>
            </a:r>
            <a:r>
              <a:rPr sz="1800" spc="-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одним</a:t>
            </a:r>
            <a:r>
              <a:rPr sz="18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и</a:t>
            </a:r>
            <a:r>
              <a:rPr sz="1800" spc="-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тем</a:t>
            </a:r>
            <a:r>
              <a:rPr sz="18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же</a:t>
            </a:r>
            <a:r>
              <a:rPr sz="1800" spc="-2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референсным</a:t>
            </a:r>
            <a:r>
              <a:rPr sz="1800" spc="-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тестом</a:t>
            </a:r>
            <a:r>
              <a:rPr sz="1800" spc="-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независимо</a:t>
            </a:r>
            <a:r>
              <a:rPr sz="18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от</a:t>
            </a:r>
            <a:r>
              <a:rPr sz="18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30" dirty="0">
                <a:solidFill>
                  <a:srgbClr val="252525"/>
                </a:solidFill>
                <a:latin typeface="Arial"/>
                <a:cs typeface="Arial"/>
              </a:rPr>
              <a:t>результатов</a:t>
            </a:r>
            <a:r>
              <a:rPr sz="1800" spc="-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252525"/>
                </a:solidFill>
                <a:latin typeface="Arial"/>
                <a:cs typeface="Arial"/>
              </a:rPr>
              <a:t>изучаемого теста?</a:t>
            </a:r>
            <a:endParaRPr sz="1800" dirty="0">
              <a:latin typeface="Arial"/>
              <a:cs typeface="Arial"/>
            </a:endParaRPr>
          </a:p>
          <a:p>
            <a:pPr marL="469900" marR="1115695" indent="-457200">
              <a:lnSpc>
                <a:spcPts val="1939"/>
              </a:lnSpc>
              <a:spcBef>
                <a:spcPts val="1010"/>
              </a:spcBef>
              <a:buClr>
                <a:srgbClr val="5B9BD4"/>
              </a:buClr>
              <a:buSzPct val="80555"/>
              <a:buAutoNum type="arabicPeriod"/>
              <a:tabLst>
                <a:tab pos="469265" algn="l"/>
                <a:tab pos="469900" algn="l"/>
              </a:tabLst>
            </a:pP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Применялся</a:t>
            </a:r>
            <a:r>
              <a:rPr sz="18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18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референсный</a:t>
            </a:r>
            <a:r>
              <a:rPr sz="1800" spc="-1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тест</a:t>
            </a:r>
            <a:r>
              <a:rPr sz="18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независимо</a:t>
            </a:r>
            <a:r>
              <a:rPr sz="1800" spc="-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от</a:t>
            </a:r>
            <a:r>
              <a:rPr sz="18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252525"/>
                </a:solidFill>
                <a:latin typeface="Arial"/>
                <a:cs typeface="Arial"/>
              </a:rPr>
              <a:t>исследуемого</a:t>
            </a:r>
            <a:r>
              <a:rPr sz="1800" spc="-2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(исследуемый</a:t>
            </a:r>
            <a:r>
              <a:rPr sz="18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тест</a:t>
            </a:r>
            <a:r>
              <a:rPr sz="1800" spc="-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не</a:t>
            </a:r>
            <a:r>
              <a:rPr sz="18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252525"/>
                </a:solidFill>
                <a:latin typeface="Arial"/>
                <a:cs typeface="Arial"/>
              </a:rPr>
              <a:t>являлся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компонентом</a:t>
            </a:r>
            <a:r>
              <a:rPr sz="1800" spc="-2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252525"/>
                </a:solidFill>
                <a:latin typeface="Arial"/>
                <a:cs typeface="Arial"/>
              </a:rPr>
              <a:t>референсного)?</a:t>
            </a:r>
            <a:endParaRPr sz="1800" dirty="0">
              <a:latin typeface="Arial"/>
              <a:cs typeface="Arial"/>
            </a:endParaRPr>
          </a:p>
          <a:p>
            <a:pPr marL="469900" indent="-457200">
              <a:lnSpc>
                <a:spcPts val="2050"/>
              </a:lnSpc>
              <a:spcBef>
                <a:spcPts val="755"/>
              </a:spcBef>
              <a:buClr>
                <a:srgbClr val="5B9BD4"/>
              </a:buClr>
              <a:buSzPct val="80555"/>
              <a:buAutoNum type="arabicPeriod"/>
              <a:tabLst>
                <a:tab pos="469265" algn="l"/>
                <a:tab pos="469900" algn="l"/>
              </a:tabLst>
            </a:pP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Были</a:t>
            </a:r>
            <a:r>
              <a:rPr sz="1800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1800" spc="-6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25" dirty="0">
                <a:solidFill>
                  <a:srgbClr val="252525"/>
                </a:solidFill>
                <a:latin typeface="Arial"/>
                <a:cs typeface="Arial"/>
              </a:rPr>
              <a:t>результаты</a:t>
            </a:r>
            <a:r>
              <a:rPr sz="1800" spc="-1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референсного</a:t>
            </a:r>
            <a:r>
              <a:rPr sz="1800" spc="-1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теста</a:t>
            </a:r>
            <a:r>
              <a:rPr sz="18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252525"/>
                </a:solidFill>
                <a:latin typeface="Arial"/>
                <a:cs typeface="Arial"/>
              </a:rPr>
              <a:t>интерпретированы</a:t>
            </a:r>
            <a:r>
              <a:rPr sz="1800" spc="-1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без</a:t>
            </a:r>
            <a:r>
              <a:rPr sz="1800" spc="-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информации</a:t>
            </a:r>
            <a:r>
              <a:rPr sz="1800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о</a:t>
            </a:r>
            <a:r>
              <a:rPr sz="18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30" dirty="0">
                <a:solidFill>
                  <a:srgbClr val="252525"/>
                </a:solidFill>
                <a:latin typeface="Arial"/>
                <a:cs typeface="Arial"/>
              </a:rPr>
              <a:t>результате</a:t>
            </a:r>
            <a:r>
              <a:rPr sz="1800" spc="-1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252525"/>
                </a:solidFill>
                <a:latin typeface="Arial"/>
                <a:cs typeface="Arial"/>
              </a:rPr>
              <a:t>исследуемого</a:t>
            </a:r>
            <a:endParaRPr sz="1800" dirty="0">
              <a:latin typeface="Arial"/>
              <a:cs typeface="Arial"/>
            </a:endParaRPr>
          </a:p>
          <a:p>
            <a:pPr marL="469900">
              <a:lnSpc>
                <a:spcPts val="2050"/>
              </a:lnSpc>
            </a:pPr>
            <a:r>
              <a:rPr sz="1800" spc="-10" dirty="0">
                <a:solidFill>
                  <a:srgbClr val="252525"/>
                </a:solidFill>
                <a:latin typeface="Arial"/>
                <a:cs typeface="Arial"/>
              </a:rPr>
              <a:t>теста?</a:t>
            </a:r>
            <a:endParaRPr sz="1800" dirty="0">
              <a:latin typeface="Arial"/>
              <a:cs typeface="Arial"/>
            </a:endParaRPr>
          </a:p>
          <a:p>
            <a:pPr marL="469900" indent="-457200">
              <a:lnSpc>
                <a:spcPct val="100000"/>
              </a:lnSpc>
              <a:spcBef>
                <a:spcPts val="780"/>
              </a:spcBef>
              <a:buClr>
                <a:srgbClr val="5B9BD4"/>
              </a:buClr>
              <a:buSzPct val="80555"/>
              <a:buAutoNum type="arabicPeriod" startAt="8"/>
              <a:tabLst>
                <a:tab pos="469265" algn="l"/>
                <a:tab pos="469900" algn="l"/>
              </a:tabLst>
            </a:pP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Были</a:t>
            </a:r>
            <a:r>
              <a:rPr sz="1800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1800" spc="-6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30" dirty="0">
                <a:solidFill>
                  <a:srgbClr val="252525"/>
                </a:solidFill>
                <a:latin typeface="Arial"/>
                <a:cs typeface="Arial"/>
              </a:rPr>
              <a:t>результаты</a:t>
            </a:r>
            <a:r>
              <a:rPr sz="1800" spc="-2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252525"/>
                </a:solidFill>
                <a:latin typeface="Arial"/>
                <a:cs typeface="Arial"/>
              </a:rPr>
              <a:t>исследуемого</a:t>
            </a:r>
            <a:r>
              <a:rPr sz="1800" spc="-2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теста</a:t>
            </a:r>
            <a:r>
              <a:rPr sz="18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252525"/>
                </a:solidFill>
                <a:latin typeface="Arial"/>
                <a:cs typeface="Arial"/>
              </a:rPr>
              <a:t>интерпретированы</a:t>
            </a:r>
            <a:r>
              <a:rPr sz="1800" spc="-2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без</a:t>
            </a:r>
            <a:r>
              <a:rPr sz="1800" spc="-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знания</a:t>
            </a:r>
            <a:r>
              <a:rPr sz="1800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25" dirty="0">
                <a:solidFill>
                  <a:srgbClr val="252525"/>
                </a:solidFill>
                <a:latin typeface="Arial"/>
                <a:cs typeface="Arial"/>
              </a:rPr>
              <a:t>результатов</a:t>
            </a:r>
            <a:r>
              <a:rPr sz="1800" spc="1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референсного</a:t>
            </a:r>
            <a:r>
              <a:rPr sz="1800" spc="-10" dirty="0">
                <a:solidFill>
                  <a:srgbClr val="252525"/>
                </a:solidFill>
                <a:latin typeface="Arial"/>
                <a:cs typeface="Arial"/>
              </a:rPr>
              <a:t> теста?</a:t>
            </a:r>
            <a:endParaRPr sz="1800" dirty="0">
              <a:latin typeface="Arial"/>
              <a:cs typeface="Arial"/>
            </a:endParaRPr>
          </a:p>
          <a:p>
            <a:pPr marL="469900" marR="461009" indent="-457200">
              <a:lnSpc>
                <a:spcPts val="1939"/>
              </a:lnSpc>
              <a:spcBef>
                <a:spcPts val="1040"/>
              </a:spcBef>
              <a:buClr>
                <a:srgbClr val="5B9BD4"/>
              </a:buClr>
              <a:buSzPct val="80555"/>
              <a:buAutoNum type="arabicPeriod" startAt="8"/>
              <a:tabLst>
                <a:tab pos="469265" algn="l"/>
                <a:tab pos="469900" algn="l"/>
              </a:tabLst>
            </a:pP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Была</a:t>
            </a:r>
            <a:r>
              <a:rPr sz="1800" spc="-2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1800" spc="-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при</a:t>
            </a:r>
            <a:r>
              <a:rPr sz="1800" spc="-2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252525"/>
                </a:solidFill>
                <a:latin typeface="Arial"/>
                <a:cs typeface="Arial"/>
              </a:rPr>
              <a:t>интерпретации</a:t>
            </a:r>
            <a:r>
              <a:rPr sz="18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30" dirty="0">
                <a:solidFill>
                  <a:srgbClr val="252525"/>
                </a:solidFill>
                <a:latin typeface="Arial"/>
                <a:cs typeface="Arial"/>
              </a:rPr>
              <a:t>результатов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252525"/>
                </a:solidFill>
                <a:latin typeface="Arial"/>
                <a:cs typeface="Arial"/>
              </a:rPr>
              <a:t>исследуемого</a:t>
            </a:r>
            <a:r>
              <a:rPr sz="1800" spc="-2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и</a:t>
            </a:r>
            <a:r>
              <a:rPr sz="1800" spc="-2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референсного</a:t>
            </a:r>
            <a:r>
              <a:rPr sz="1800" spc="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тестов</a:t>
            </a:r>
            <a:r>
              <a:rPr sz="1800" spc="-2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доступна</a:t>
            </a:r>
            <a:r>
              <a:rPr sz="1800" spc="-2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252525"/>
                </a:solidFill>
                <a:latin typeface="Arial"/>
                <a:cs typeface="Arial"/>
              </a:rPr>
              <a:t>клиническая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информация,</a:t>
            </a:r>
            <a:r>
              <a:rPr sz="18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которая</a:t>
            </a:r>
            <a:r>
              <a:rPr sz="18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должна</a:t>
            </a:r>
            <a:r>
              <a:rPr sz="18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быть</a:t>
            </a:r>
            <a:r>
              <a:rPr sz="1800" spc="-3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доступна</a:t>
            </a:r>
            <a:r>
              <a:rPr sz="1800" spc="-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при</a:t>
            </a:r>
            <a:r>
              <a:rPr sz="18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практическом</a:t>
            </a:r>
            <a:r>
              <a:rPr sz="18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применении</a:t>
            </a:r>
            <a:r>
              <a:rPr sz="1800" spc="-2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252525"/>
                </a:solidFill>
                <a:latin typeface="Arial"/>
                <a:cs typeface="Arial"/>
              </a:rPr>
              <a:t>теста?</a:t>
            </a:r>
            <a:endParaRPr sz="1800" dirty="0">
              <a:latin typeface="Arial"/>
              <a:cs typeface="Arial"/>
            </a:endParaRPr>
          </a:p>
          <a:p>
            <a:pPr marL="469900" indent="-457200">
              <a:lnSpc>
                <a:spcPct val="100000"/>
              </a:lnSpc>
              <a:spcBef>
                <a:spcPts val="760"/>
              </a:spcBef>
              <a:buClr>
                <a:srgbClr val="5B9BD4"/>
              </a:buClr>
              <a:buSzPct val="80555"/>
              <a:buAutoNum type="arabicPeriod" startAt="8"/>
              <a:tabLst>
                <a:tab pos="469265" algn="l"/>
                <a:tab pos="469900" algn="l"/>
              </a:tabLst>
            </a:pP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Указано</a:t>
            </a:r>
            <a:r>
              <a:rPr sz="1800" spc="-3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1800" spc="-3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число</a:t>
            </a:r>
            <a:r>
              <a:rPr sz="18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252525"/>
                </a:solidFill>
                <a:latin typeface="Arial"/>
                <a:cs typeface="Arial"/>
              </a:rPr>
              <a:t>неинтерпретируемых/промежуточных</a:t>
            </a:r>
            <a:r>
              <a:rPr sz="1800" spc="2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30" dirty="0">
                <a:solidFill>
                  <a:srgbClr val="252525"/>
                </a:solidFill>
                <a:latin typeface="Arial"/>
                <a:cs typeface="Arial"/>
              </a:rPr>
              <a:t>результатов</a:t>
            </a:r>
            <a:r>
              <a:rPr sz="1800" spc="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252525"/>
                </a:solidFill>
                <a:latin typeface="Arial"/>
                <a:cs typeface="Arial"/>
              </a:rPr>
              <a:t>теста?</a:t>
            </a:r>
            <a:endParaRPr sz="1800" dirty="0">
              <a:latin typeface="Arial"/>
              <a:cs typeface="Arial"/>
            </a:endParaRPr>
          </a:p>
          <a:p>
            <a:pPr marL="469900" indent="-457200">
              <a:lnSpc>
                <a:spcPct val="100000"/>
              </a:lnSpc>
              <a:spcBef>
                <a:spcPts val="780"/>
              </a:spcBef>
              <a:buClr>
                <a:srgbClr val="5B9BD4"/>
              </a:buClr>
              <a:buSzPct val="80555"/>
              <a:buAutoNum type="arabicPeriod" startAt="8"/>
              <a:tabLst>
                <a:tab pos="469265" algn="l"/>
                <a:tab pos="469900" algn="l"/>
              </a:tabLst>
            </a:pP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Объяснены</a:t>
            </a:r>
            <a:r>
              <a:rPr sz="1800" spc="-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ли</a:t>
            </a:r>
            <a:r>
              <a:rPr sz="18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выбывания</a:t>
            </a:r>
            <a:r>
              <a:rPr sz="18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(случаи,</a:t>
            </a:r>
            <a:r>
              <a:rPr sz="1800" spc="-1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когда</a:t>
            </a:r>
            <a:r>
              <a:rPr sz="18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не</a:t>
            </a:r>
            <a:r>
              <a:rPr sz="18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применен</a:t>
            </a:r>
            <a:r>
              <a:rPr sz="1800" spc="-2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один</a:t>
            </a:r>
            <a:r>
              <a:rPr sz="1800" spc="-3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из</a:t>
            </a:r>
            <a:r>
              <a:rPr sz="1800" spc="-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тестов)</a:t>
            </a:r>
            <a:r>
              <a:rPr sz="18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dirty="0">
                <a:solidFill>
                  <a:srgbClr val="252525"/>
                </a:solidFill>
                <a:latin typeface="Arial"/>
                <a:cs typeface="Arial"/>
              </a:rPr>
              <a:t>из</a:t>
            </a:r>
            <a:r>
              <a:rPr sz="1800" spc="-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1800" spc="-10" dirty="0">
                <a:solidFill>
                  <a:srgbClr val="252525"/>
                </a:solidFill>
                <a:latin typeface="Arial"/>
                <a:cs typeface="Arial"/>
              </a:rPr>
              <a:t>исследования?</a:t>
            </a:r>
            <a:endParaRPr sz="1800" dirty="0">
              <a:latin typeface="Arial"/>
              <a:cs typeface="Arial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7956442-29AA-42A5-A08B-EE3115B5574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3876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C47F5784-D4D4-4F8F-932B-F1B589713A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7893" y="1757367"/>
            <a:ext cx="10515600" cy="1740593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sz="4000" dirty="0">
                <a:latin typeface="+mj-lt"/>
              </a:rPr>
              <a:t>Разработка дизайна клинического исследования и сбор фактического материала</a:t>
            </a:r>
            <a:endParaRPr lang="ru-RU" sz="3600" dirty="0">
              <a:latin typeface="+mj-lt"/>
            </a:endParaRPr>
          </a:p>
        </p:txBody>
      </p:sp>
      <p:pic>
        <p:nvPicPr>
          <p:cNvPr id="13314" name="Picture 2" descr="Всероссийское общество орфанных заболеваний">
            <a:extLst>
              <a:ext uri="{FF2B5EF4-FFF2-40B4-BE49-F238E27FC236}">
                <a16:creationId xmlns:a16="http://schemas.microsoft.com/office/drawing/2014/main" id="{081AD9CE-F91D-4A28-A912-906950BED3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684"/>
          <a:stretch/>
        </p:blipFill>
        <p:spPr bwMode="auto">
          <a:xfrm>
            <a:off x="8059097" y="3968150"/>
            <a:ext cx="3753581" cy="2751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5E39A1C-8D8D-41E0-9D7C-44401B0830F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43271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16C41DF-E39F-4CB5-8A14-6ADDA0C385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E2BC0F2-F448-4084-99B5-A5E8C92F1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881B051-E7DB-434D-9822-711E3F53D2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158" y="2208264"/>
            <a:ext cx="10768642" cy="297237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BF62017-33B8-4E01-968E-DB8339E7E28E}"/>
              </a:ext>
            </a:extLst>
          </p:cNvPr>
          <p:cNvSpPr txBox="1"/>
          <p:nvPr/>
        </p:nvSpPr>
        <p:spPr>
          <a:xfrm>
            <a:off x="2693598" y="5180636"/>
            <a:ext cx="609456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Тема должна соответствовать паспорту специальности, зачастую она соответствует, но аспиранты с паспортом своей специальности чаще всего не знакомы.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AF5A2D3D-2BCC-459D-92F9-F69C40C36A9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288084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202AD82-0653-4B25-A626-AEBDC1165C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2049EBB-F6DB-4922-AFAB-C3C2B74C60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F42E1EC-F2DD-4C33-B1A2-F0A1CE688F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696" y="0"/>
            <a:ext cx="11664608" cy="6858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1824E54-A2A6-4531-BBE8-3B9C6A9A19E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69950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E01CC0-ECC5-4680-B875-544C5F9555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08987C1-0FA4-4785-A4BD-418EFE11A6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BCD9304-9008-4652-90E2-445BBC7D36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4233" y="548827"/>
            <a:ext cx="10052649" cy="5498526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C8F527E-0C13-4B41-9592-0B016784CEC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89799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Клинические исследования </a:t>
            </a:r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— это исследования, организованные для оценки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различных вмешательств, условия проведения которых направлены на устранение влияния систематических ошибок на результаты.</a:t>
            </a:r>
            <a:endParaRPr lang="en-US" sz="24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Цель клинических исследований  </a:t>
            </a:r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-  оценка терапевтической или профилактической эффективности и переносимости нового лекарственного средства или методики, установление наиболее рациональных доз, разработка схем  применения или оценка </a:t>
            </a:r>
            <a:r>
              <a:rPr lang="ru-RU" sz="2400" dirty="0" err="1">
                <a:latin typeface="Times New Roman" pitchFamily="18" charset="0"/>
                <a:cs typeface="Times New Roman" pitchFamily="18" charset="0"/>
              </a:rPr>
              <a:t>диагностичсеких</a:t>
            </a:r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 возможностей, сравнение с уже существующими препаратами или методиками. 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38F95487-D039-4513-871E-59E9BAB24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5CA1371-659D-4264-8BF0-1F5294E67AA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42461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551709" y="1243857"/>
            <a:ext cx="8472518" cy="6357982"/>
          </a:xfrm>
        </p:spPr>
        <p:txBody>
          <a:bodyPr>
            <a:noAutofit/>
          </a:bodyPr>
          <a:lstStyle/>
          <a:p>
            <a:r>
              <a:rPr lang="ru-RU" sz="1800" b="1" dirty="0">
                <a:latin typeface="Times New Roman" pitchFamily="18" charset="0"/>
                <a:cs typeface="Times New Roman" pitchFamily="18" charset="0"/>
              </a:rPr>
              <a:t>Фаза I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 - клинико-фармакологические исследования </a:t>
            </a:r>
          </a:p>
          <a:p>
            <a:r>
              <a:rPr lang="ru-RU" sz="1800" b="1" dirty="0">
                <a:latin typeface="Times New Roman" pitchFamily="18" charset="0"/>
                <a:cs typeface="Times New Roman" pitchFamily="18" charset="0"/>
              </a:rPr>
              <a:t>Фаза II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— </a:t>
            </a:r>
            <a:r>
              <a:rPr lang="ru-RU" sz="1800" dirty="0" err="1">
                <a:latin typeface="Times New Roman" pitchFamily="18" charset="0"/>
                <a:cs typeface="Times New Roman" pitchFamily="18" charset="0"/>
              </a:rPr>
              <a:t>пилотные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       и            контролируемые исследования           </a:t>
            </a:r>
          </a:p>
          <a:p>
            <a:pPr algn="r">
              <a:buNone/>
            </a:pPr>
            <a:endParaRPr lang="ru-RU" sz="1800" dirty="0">
              <a:latin typeface="Times New Roman" pitchFamily="18" charset="0"/>
              <a:cs typeface="Times New Roman" pitchFamily="18" charset="0"/>
            </a:endParaRPr>
          </a:p>
          <a:p>
            <a:pPr algn="r">
              <a:buNone/>
            </a:pP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контроль исходного состояния;  плацебо-контроль;  активный контроль;  контроль                                            по архивной статистике</a:t>
            </a:r>
          </a:p>
          <a:p>
            <a:r>
              <a:rPr lang="ru-RU" sz="1800" b="1" dirty="0">
                <a:latin typeface="Times New Roman" pitchFamily="18" charset="0"/>
                <a:cs typeface="Times New Roman" pitchFamily="18" charset="0"/>
              </a:rPr>
              <a:t>Фаза III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- расширенные клинические исследования </a:t>
            </a:r>
          </a:p>
          <a:p>
            <a:pPr>
              <a:buNone/>
            </a:pP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       </a:t>
            </a:r>
            <a:r>
              <a:rPr lang="ru-RU" sz="1800" dirty="0" err="1">
                <a:latin typeface="Times New Roman" pitchFamily="18" charset="0"/>
                <a:cs typeface="Times New Roman" pitchFamily="18" charset="0"/>
              </a:rPr>
              <a:t>IIIa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 охватывает период до представления заявки на регистрацию; </a:t>
            </a:r>
          </a:p>
          <a:p>
            <a:pPr>
              <a:buNone/>
            </a:pP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       </a:t>
            </a:r>
            <a:r>
              <a:rPr lang="ru-RU" sz="1800" dirty="0" err="1">
                <a:latin typeface="Times New Roman" pitchFamily="18" charset="0"/>
                <a:cs typeface="Times New Roman" pitchFamily="18" charset="0"/>
              </a:rPr>
              <a:t>IIIв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 - период с момента подачи заявки на регистрацию и до окончательной регистрации препарата. </a:t>
            </a:r>
          </a:p>
          <a:p>
            <a:r>
              <a:rPr lang="ru-RU" sz="1800" b="1" dirty="0">
                <a:latin typeface="Times New Roman" pitchFamily="18" charset="0"/>
                <a:cs typeface="Times New Roman" pitchFamily="18" charset="0"/>
              </a:rPr>
              <a:t>Фаза IV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800" dirty="0" err="1">
                <a:latin typeface="Times New Roman" pitchFamily="18" charset="0"/>
                <a:cs typeface="Times New Roman" pitchFamily="18" charset="0"/>
              </a:rPr>
              <a:t>пострегистрационные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 исследования</a:t>
            </a:r>
            <a:endParaRPr lang="en-US" sz="1800" dirty="0">
              <a:latin typeface="Times New Roman" pitchFamily="18" charset="0"/>
              <a:cs typeface="Times New Roman" pitchFamily="18" charset="0"/>
            </a:endParaRPr>
          </a:p>
          <a:p>
            <a:pPr>
              <a:buNone/>
            </a:pP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             Ретроспективные исследования проводятся на основе прошлого опыта применения разных ЛС или видов терапии по данным  историй  болезни.   </a:t>
            </a:r>
          </a:p>
          <a:p>
            <a:pPr>
              <a:buNone/>
            </a:pP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             </a:t>
            </a:r>
            <a:r>
              <a:rPr lang="ru-RU" sz="1800" dirty="0" err="1">
                <a:latin typeface="Times New Roman" pitchFamily="18" charset="0"/>
                <a:cs typeface="Times New Roman" pitchFamily="18" charset="0"/>
              </a:rPr>
              <a:t>Проспективные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 исследования планируются на перспективу (до начала набора больных) и проводятся по общему протоколу в сбалансированных группах больных, что значительно повышает надежность полученных результатов. </a:t>
            </a:r>
          </a:p>
        </p:txBody>
      </p:sp>
      <p:sp>
        <p:nvSpPr>
          <p:cNvPr id="14" name="Стрелка вправо 13"/>
          <p:cNvSpPr/>
          <p:nvPr/>
        </p:nvSpPr>
        <p:spPr>
          <a:xfrm rot="1657955">
            <a:off x="6710635" y="2016435"/>
            <a:ext cx="916500" cy="20100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Стрелка вправо 14"/>
          <p:cNvSpPr/>
          <p:nvPr/>
        </p:nvSpPr>
        <p:spPr>
          <a:xfrm rot="1788012">
            <a:off x="8283034" y="1987073"/>
            <a:ext cx="857256" cy="17837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Стрелка вправо 15"/>
          <p:cNvSpPr/>
          <p:nvPr/>
        </p:nvSpPr>
        <p:spPr>
          <a:xfrm rot="6668590">
            <a:off x="5376474" y="2036635"/>
            <a:ext cx="482662" cy="23541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Стрелка вправо 16"/>
          <p:cNvSpPr/>
          <p:nvPr/>
        </p:nvSpPr>
        <p:spPr>
          <a:xfrm rot="9425789">
            <a:off x="4135824" y="1942546"/>
            <a:ext cx="1000132" cy="21431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трелка вправо 17"/>
          <p:cNvSpPr/>
          <p:nvPr/>
        </p:nvSpPr>
        <p:spPr>
          <a:xfrm>
            <a:off x="1951733" y="4601443"/>
            <a:ext cx="285752" cy="14287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Стрелка вправо 18"/>
          <p:cNvSpPr/>
          <p:nvPr/>
        </p:nvSpPr>
        <p:spPr>
          <a:xfrm>
            <a:off x="1951733" y="5244385"/>
            <a:ext cx="285752" cy="14287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трелка вправо 19"/>
          <p:cNvSpPr/>
          <p:nvPr/>
        </p:nvSpPr>
        <p:spPr>
          <a:xfrm>
            <a:off x="1665981" y="3315559"/>
            <a:ext cx="285752" cy="14287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Стрелка вправо 20"/>
          <p:cNvSpPr/>
          <p:nvPr/>
        </p:nvSpPr>
        <p:spPr>
          <a:xfrm>
            <a:off x="1665981" y="3601311"/>
            <a:ext cx="285752" cy="14287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356E189-05A4-4F77-9844-DE5F1740B9B3}"/>
              </a:ext>
            </a:extLst>
          </p:cNvPr>
          <p:cNvSpPr/>
          <p:nvPr/>
        </p:nvSpPr>
        <p:spPr>
          <a:xfrm>
            <a:off x="724136" y="266172"/>
            <a:ext cx="819487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dirty="0">
                <a:latin typeface="+mj-lt"/>
                <a:cs typeface="Times New Roman" pitchFamily="18" charset="0"/>
              </a:rPr>
              <a:t>Фазы клинических исследований</a:t>
            </a:r>
            <a:endParaRPr lang="ru-RU" sz="3200" dirty="0">
              <a:latin typeface="+mj-lt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A6793754-F1E4-4E06-B32C-CF1A136B4D6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6363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1055" y="1785902"/>
            <a:ext cx="10751127" cy="5072098"/>
          </a:xfrm>
        </p:spPr>
        <p:txBody>
          <a:bodyPr>
            <a:normAutofit lnSpcReduction="10000"/>
          </a:bodyPr>
          <a:lstStyle/>
          <a:p>
            <a:r>
              <a:rPr lang="ru-RU" b="1" dirty="0">
                <a:latin typeface="Times New Roman" pitchFamily="18" charset="0"/>
                <a:cs typeface="Times New Roman" pitchFamily="18" charset="0"/>
              </a:rPr>
              <a:t>Статистическая  значимость - 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мера случайности полученного результата, равная вероятности того, что в генеральной совокупности этот результат (различия, связь) отсутствует. Чем меньше  эта вероятность (значение </a:t>
            </a:r>
            <a:r>
              <a:rPr lang="ru-RU" dirty="0" err="1">
                <a:latin typeface="Times New Roman" pitchFamily="18" charset="0"/>
                <a:cs typeface="Times New Roman" pitchFamily="18" charset="0"/>
              </a:rPr>
              <a:t>р-уровня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), тем выше  статистическая  значимость  результата.  Результат  считается  статистически  достоверным (значимым), если </a:t>
            </a:r>
            <a:r>
              <a:rPr lang="ru-RU" dirty="0" err="1">
                <a:latin typeface="Times New Roman" pitchFamily="18" charset="0"/>
                <a:cs typeface="Times New Roman" pitchFamily="18" charset="0"/>
              </a:rPr>
              <a:t>р-уровень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 не превышает 0,05.</a:t>
            </a:r>
          </a:p>
          <a:p>
            <a:r>
              <a:rPr lang="ru-RU" b="1" dirty="0">
                <a:latin typeface="Times New Roman" pitchFamily="18" charset="0"/>
                <a:cs typeface="Times New Roman" pitchFamily="18" charset="0"/>
              </a:rPr>
              <a:t>Корреляция. 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1.  Мера  степени  и  направления  связи  между значениями  двух  переменных.  2.  Статистический  показатель  вероятности  связи  между двумя переменными, измеренными в количественной шкале. </a:t>
            </a:r>
          </a:p>
          <a:p>
            <a:r>
              <a:rPr lang="ru-RU" b="1" dirty="0">
                <a:latin typeface="Times New Roman" pitchFamily="18" charset="0"/>
                <a:cs typeface="Times New Roman" pitchFamily="18" charset="0"/>
              </a:rPr>
              <a:t>Корреляционный  анализ - 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проверка  гипотез  о  связях  между  переменными  с  использованием коэффициентов корреляции.</a:t>
            </a:r>
          </a:p>
          <a:p>
            <a:endParaRPr lang="ru-RU" dirty="0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71055" y="274638"/>
            <a:ext cx="9982663" cy="1143000"/>
          </a:xfrm>
        </p:spPr>
        <p:txBody>
          <a:bodyPr>
            <a:noAutofit/>
          </a:bodyPr>
          <a:lstStyle/>
          <a:p>
            <a:r>
              <a:rPr lang="ru-RU" sz="3200" dirty="0">
                <a:cs typeface="Times New Roman" pitchFamily="18" charset="0"/>
              </a:rPr>
              <a:t>Медицинская статистика. Основные понятия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BD1C87A-F454-4866-8DEE-67B19C43118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39147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78665" y="64919"/>
            <a:ext cx="10515600" cy="1325563"/>
          </a:xfrm>
        </p:spPr>
        <p:txBody>
          <a:bodyPr>
            <a:normAutofit/>
          </a:bodyPr>
          <a:lstStyle/>
          <a:p>
            <a:r>
              <a:rPr lang="ru-RU" sz="3200" dirty="0">
                <a:cs typeface="Times New Roman" pitchFamily="18" charset="0"/>
              </a:rPr>
              <a:t>Типовые модели клинических исследований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Wingdings" pitchFamily="2" charset="2"/>
              <a:buChar char="ü"/>
            </a:pP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в одной группе  (</a:t>
            </a:r>
            <a:r>
              <a:rPr lang="ru-RU" sz="2000" dirty="0" err="1">
                <a:latin typeface="Times New Roman" pitchFamily="18" charset="0"/>
                <a:cs typeface="Times New Roman" pitchFamily="18" charset="0"/>
              </a:rPr>
              <a:t>single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dirty="0" err="1">
                <a:latin typeface="Times New Roman" pitchFamily="18" charset="0"/>
                <a:cs typeface="Times New Roman" pitchFamily="18" charset="0"/>
              </a:rPr>
              <a:t>group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dirty="0" err="1">
                <a:latin typeface="Times New Roman" pitchFamily="18" charset="0"/>
                <a:cs typeface="Times New Roman" pitchFamily="18" charset="0"/>
              </a:rPr>
              <a:t>study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); </a:t>
            </a:r>
          </a:p>
          <a:p>
            <a:pPr>
              <a:buFont typeface="Wingdings" pitchFamily="2" charset="2"/>
              <a:buChar char="ü"/>
            </a:pPr>
            <a:endParaRPr lang="ru-RU" sz="2000" dirty="0">
              <a:latin typeface="Times New Roman" pitchFamily="18" charset="0"/>
              <a:cs typeface="Times New Roman" pitchFamily="18" charset="0"/>
            </a:endParaRPr>
          </a:p>
          <a:p>
            <a:pPr>
              <a:buNone/>
            </a:pPr>
            <a:endParaRPr lang="ru-RU" sz="2000" dirty="0">
              <a:latin typeface="Times New Roman" pitchFamily="18" charset="0"/>
              <a:cs typeface="Times New Roman" pitchFamily="18" charset="0"/>
            </a:endParaRPr>
          </a:p>
          <a:p>
            <a:pPr>
              <a:buNone/>
            </a:pPr>
            <a:endParaRPr lang="ru-RU" sz="2000" dirty="0">
              <a:latin typeface="Times New Roman" pitchFamily="18" charset="0"/>
              <a:cs typeface="Times New Roman" pitchFamily="18" charset="0"/>
            </a:endParaRPr>
          </a:p>
          <a:p>
            <a:pPr>
              <a:buNone/>
            </a:pPr>
            <a:endParaRPr lang="ru-RU" sz="2000" dirty="0">
              <a:latin typeface="Times New Roman" pitchFamily="18" charset="0"/>
              <a:cs typeface="Times New Roman" pitchFamily="18" charset="0"/>
            </a:endParaRPr>
          </a:p>
          <a:p>
            <a:pPr>
              <a:buNone/>
            </a:pPr>
            <a:endParaRPr lang="ru-RU" sz="2000" dirty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ü"/>
            </a:pP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в группах "перекрестной" модели (</a:t>
            </a:r>
            <a:r>
              <a:rPr lang="ru-RU" sz="2000" dirty="0" err="1">
                <a:latin typeface="Times New Roman" pitchFamily="18" charset="0"/>
                <a:cs typeface="Times New Roman" pitchFamily="18" charset="0"/>
              </a:rPr>
              <a:t>crossover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dirty="0" err="1">
                <a:latin typeface="Times New Roman" pitchFamily="18" charset="0"/>
                <a:cs typeface="Times New Roman" pitchFamily="18" charset="0"/>
              </a:rPr>
              <a:t>group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dirty="0" err="1">
                <a:latin typeface="Times New Roman" pitchFamily="18" charset="0"/>
                <a:cs typeface="Times New Roman" pitchFamily="18" charset="0"/>
              </a:rPr>
              <a:t>study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).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24000" y="2214555"/>
            <a:ext cx="4786314" cy="1539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99781" y="2214556"/>
            <a:ext cx="4168219" cy="15716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95539" y="4675238"/>
            <a:ext cx="7081853" cy="218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Прямоугольник 7"/>
          <p:cNvSpPr/>
          <p:nvPr/>
        </p:nvSpPr>
        <p:spPr>
          <a:xfrm>
            <a:off x="6524628" y="1571612"/>
            <a:ext cx="4572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в параллельных группах (</a:t>
            </a:r>
            <a:r>
              <a:rPr lang="ru-RU" sz="2000" dirty="0" err="1">
                <a:latin typeface="Times New Roman" pitchFamily="18" charset="0"/>
                <a:cs typeface="Times New Roman" pitchFamily="18" charset="0"/>
              </a:rPr>
              <a:t>parallel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dirty="0" err="1">
                <a:latin typeface="Times New Roman" pitchFamily="18" charset="0"/>
                <a:cs typeface="Times New Roman" pitchFamily="18" charset="0"/>
              </a:rPr>
              <a:t>group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dirty="0" err="1">
                <a:latin typeface="Times New Roman" pitchFamily="18" charset="0"/>
                <a:cs typeface="Times New Roman" pitchFamily="18" charset="0"/>
              </a:rPr>
              <a:t>study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); 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58C0BDD-2A84-400E-A2E4-F2FC9DCD96C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15961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47254" y="85072"/>
            <a:ext cx="10515600" cy="1325563"/>
          </a:xfrm>
        </p:spPr>
        <p:txBody>
          <a:bodyPr>
            <a:noAutofit/>
          </a:bodyPr>
          <a:lstStyle/>
          <a:p>
            <a:r>
              <a:rPr lang="ru-RU" sz="3200" dirty="0">
                <a:cs typeface="Times New Roman" pitchFamily="18" charset="0"/>
              </a:rPr>
              <a:t>Классификация клинических исследований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238348" y="1785927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latin typeface="Times New Roman" pitchFamily="18" charset="0"/>
                <a:cs typeface="Times New Roman" pitchFamily="18" charset="0"/>
              </a:rPr>
              <a:t>I. Обсервационные - исследования без преднамеренного вмешательства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238348" y="2643183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1. 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Описательные - без контрольной группы сравнения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238348" y="3429000"/>
            <a:ext cx="457203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imes New Roman" pitchFamily="18" charset="0"/>
                <a:cs typeface="Times New Roman" pitchFamily="18" charset="0"/>
              </a:rPr>
              <a:t>-  описание  случаев  -  это описание менее 10 случаев  из клинической практики.</a:t>
            </a:r>
          </a:p>
          <a:p>
            <a:r>
              <a:rPr lang="ru-RU" dirty="0">
                <a:latin typeface="Times New Roman" pitchFamily="18" charset="0"/>
                <a:cs typeface="Times New Roman" pitchFamily="18" charset="0"/>
              </a:rPr>
              <a:t>-  описание  серий случаев  -это  описание 10 и более случаев одной </a:t>
            </a:r>
          </a:p>
          <a:p>
            <a:r>
              <a:rPr lang="ru-RU" dirty="0">
                <a:latin typeface="Times New Roman" pitchFamily="18" charset="0"/>
                <a:cs typeface="Times New Roman" pitchFamily="18" charset="0"/>
              </a:rPr>
              <a:t>патологии. </a:t>
            </a:r>
          </a:p>
          <a:p>
            <a:r>
              <a:rPr lang="ru-RU" dirty="0">
                <a:latin typeface="Times New Roman" pitchFamily="18" charset="0"/>
                <a:cs typeface="Times New Roman" pitchFamily="18" charset="0"/>
              </a:rPr>
              <a:t>-  одномоментные (поперечные)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309786" y="5357827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latin typeface="Times New Roman" pitchFamily="18" charset="0"/>
                <a:cs typeface="Times New Roman" pitchFamily="18" charset="0"/>
              </a:rPr>
              <a:t>2. Аналитические - с формированием контрольной группы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4524364" y="6215082"/>
            <a:ext cx="34277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-  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исследования случай-контроль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1524001" y="6286520"/>
            <a:ext cx="279313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latin typeface="Times New Roman" pitchFamily="18" charset="0"/>
                <a:cs typeface="Times New Roman" pitchFamily="18" charset="0"/>
              </a:rPr>
              <a:t>-  </a:t>
            </a:r>
            <a:r>
              <a:rPr lang="ru-RU" dirty="0" err="1">
                <a:latin typeface="Times New Roman" pitchFamily="18" charset="0"/>
                <a:cs typeface="Times New Roman" pitchFamily="18" charset="0"/>
              </a:rPr>
              <a:t>когортное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 исследование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7881950" y="1714488"/>
            <a:ext cx="24632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latin typeface="Times New Roman" pitchFamily="18" charset="0"/>
                <a:cs typeface="Times New Roman" pitchFamily="18" charset="0"/>
              </a:rPr>
              <a:t>II  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Экспериментальные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7096132" y="2214555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buAutoNum type="arabicPeriod"/>
            </a:pPr>
            <a:r>
              <a:rPr lang="ru-RU" dirty="0" err="1">
                <a:latin typeface="Times New Roman" pitchFamily="18" charset="0"/>
                <a:cs typeface="Times New Roman" pitchFamily="18" charset="0"/>
              </a:rPr>
              <a:t>Рандомизированные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AutoNum type="arabicPeriod"/>
            </a:pPr>
            <a:r>
              <a:rPr lang="ru-RU" dirty="0" err="1">
                <a:latin typeface="Times New Roman" pitchFamily="18" charset="0"/>
                <a:cs typeface="Times New Roman" pitchFamily="18" charset="0"/>
              </a:rPr>
              <a:t>Нерандомизированные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17" name="Стрелка вправо 16"/>
          <p:cNvSpPr/>
          <p:nvPr/>
        </p:nvSpPr>
        <p:spPr>
          <a:xfrm>
            <a:off x="2166910" y="3571876"/>
            <a:ext cx="285752" cy="21431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трелка вправо 17"/>
          <p:cNvSpPr/>
          <p:nvPr/>
        </p:nvSpPr>
        <p:spPr>
          <a:xfrm>
            <a:off x="2166910" y="4071942"/>
            <a:ext cx="285752" cy="21431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Стрелка вправо 18"/>
          <p:cNvSpPr/>
          <p:nvPr/>
        </p:nvSpPr>
        <p:spPr>
          <a:xfrm>
            <a:off x="2166910" y="4929198"/>
            <a:ext cx="285752" cy="21431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трелка вправо 19"/>
          <p:cNvSpPr/>
          <p:nvPr/>
        </p:nvSpPr>
        <p:spPr>
          <a:xfrm rot="3524945">
            <a:off x="4810116" y="5929330"/>
            <a:ext cx="500066" cy="28575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Стрелка вправо 20"/>
          <p:cNvSpPr/>
          <p:nvPr/>
        </p:nvSpPr>
        <p:spPr>
          <a:xfrm rot="7914594">
            <a:off x="2690283" y="6067963"/>
            <a:ext cx="500066" cy="28575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трелка вправо 22"/>
          <p:cNvSpPr/>
          <p:nvPr/>
        </p:nvSpPr>
        <p:spPr>
          <a:xfrm rot="2497715">
            <a:off x="7810251" y="1226433"/>
            <a:ext cx="687284" cy="28077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трелка вправо 23"/>
          <p:cNvSpPr/>
          <p:nvPr/>
        </p:nvSpPr>
        <p:spPr>
          <a:xfrm rot="8974464">
            <a:off x="3613917" y="1322284"/>
            <a:ext cx="785818" cy="28575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3B73AF7B-F704-4755-AF03-17063A545D2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67695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9CE1290-E724-499F-9008-7B4C0FA85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F0426A93-E412-4525-A662-D29D8E679F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C9570BE-70A5-49AA-B56D-C0B09D8C6C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517" y="422922"/>
            <a:ext cx="11499861" cy="6012155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9FA7720-6ED6-449D-B8E3-C63E87CF36A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34480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23434" y="15951"/>
            <a:ext cx="8633724" cy="51435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dirty="0"/>
              <a:t>Оценка</a:t>
            </a:r>
            <a:r>
              <a:rPr sz="3200" spc="-110" dirty="0"/>
              <a:t> </a:t>
            </a:r>
            <a:r>
              <a:rPr sz="3200" dirty="0"/>
              <a:t>важности</a:t>
            </a:r>
            <a:r>
              <a:rPr sz="3200" spc="-105" dirty="0"/>
              <a:t> </a:t>
            </a:r>
            <a:r>
              <a:rPr sz="3200" spc="-10" dirty="0"/>
              <a:t>исходов</a:t>
            </a:r>
            <a:endParaRPr sz="3200" dirty="0"/>
          </a:p>
        </p:txBody>
      </p:sp>
      <p:graphicFrame>
        <p:nvGraphicFramePr>
          <p:cNvPr id="3" name="object 3"/>
          <p:cNvGraphicFramePr>
            <a:graphicFrameLocks noGrp="1"/>
          </p:cNvGraphicFramePr>
          <p:nvPr/>
        </p:nvGraphicFramePr>
        <p:xfrm>
          <a:off x="110881" y="504316"/>
          <a:ext cx="11957685" cy="634682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06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7652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858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03860">
                <a:tc>
                  <a:txBody>
                    <a:bodyPr/>
                    <a:lstStyle/>
                    <a:p>
                      <a:pPr marL="100965">
                        <a:lnSpc>
                          <a:spcPct val="100000"/>
                        </a:lnSpc>
                        <a:spcBef>
                          <a:spcPts val="710"/>
                        </a:spcBef>
                      </a:pPr>
                      <a:r>
                        <a:rPr sz="16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Вид</a:t>
                      </a:r>
                      <a:r>
                        <a:rPr sz="1600" b="1" spc="-2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6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исхода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9017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5B9BD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10"/>
                        </a:spcBef>
                      </a:pPr>
                      <a:r>
                        <a:rPr sz="1600" b="1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Перечень</a:t>
                      </a:r>
                      <a:r>
                        <a:rPr sz="1600" b="1" spc="-55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6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исходов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9017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5B9BD4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710"/>
                        </a:spcBef>
                      </a:pPr>
                      <a:r>
                        <a:rPr sz="1600" b="1" spc="-10" dirty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Комментарий</a:t>
                      </a:r>
                      <a:endParaRPr sz="1600">
                        <a:latin typeface="Calibri"/>
                        <a:cs typeface="Calibri"/>
                      </a:endParaRPr>
                    </a:p>
                  </a:txBody>
                  <a:tcPr marL="0" marR="0" marT="9017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5B9BD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00200">
                <a:tc row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8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8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8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800">
                        <a:latin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</a:pPr>
                      <a:endParaRPr sz="1800">
                        <a:latin typeface="Times New Roman"/>
                        <a:cs typeface="Times New Roman"/>
                      </a:endParaRPr>
                    </a:p>
                    <a:p>
                      <a:pPr marL="315595" marR="184150" indent="-127000">
                        <a:lnSpc>
                          <a:spcPct val="150100"/>
                        </a:lnSpc>
                        <a:spcBef>
                          <a:spcPts val="1540"/>
                        </a:spcBef>
                      </a:pPr>
                      <a:r>
                        <a:rPr sz="1800" b="1" spc="-10" dirty="0">
                          <a:latin typeface="Calibri"/>
                          <a:cs typeface="Calibri"/>
                        </a:rPr>
                        <a:t>Важный исход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D2DEEE"/>
                    </a:solidFill>
                  </a:tcPr>
                </a:tc>
                <a:tc>
                  <a:txBody>
                    <a:bodyPr/>
                    <a:lstStyle/>
                    <a:p>
                      <a:pPr marL="68580" algn="just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Смерть,</a:t>
                      </a:r>
                      <a:r>
                        <a:rPr sz="1400" spc="17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рецидив,</a:t>
                      </a:r>
                      <a:r>
                        <a:rPr sz="1400" spc="1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ремиссия,</a:t>
                      </a:r>
                      <a:r>
                        <a:rPr sz="1400" spc="18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качество</a:t>
                      </a:r>
                      <a:r>
                        <a:rPr sz="1400" spc="19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жизни</a:t>
                      </a:r>
                      <a:r>
                        <a:rPr sz="1400" spc="18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(QALY</a:t>
                      </a:r>
                      <a:r>
                        <a:rPr sz="1400" spc="18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и</a:t>
                      </a:r>
                      <a:r>
                        <a:rPr sz="1400" spc="17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валидизированные</a:t>
                      </a:r>
                      <a:r>
                        <a:rPr sz="1400" spc="18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опросники,</a:t>
                      </a:r>
                      <a:endParaRPr sz="1400">
                        <a:latin typeface="Calibri"/>
                        <a:cs typeface="Calibri"/>
                      </a:endParaRPr>
                    </a:p>
                    <a:p>
                      <a:pPr marL="68580" marR="59055" algn="just">
                        <a:lnSpc>
                          <a:spcPct val="150000"/>
                        </a:lnSpc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например,</a:t>
                      </a:r>
                      <a:r>
                        <a:rPr sz="1400" spc="204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EQ-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5D),</a:t>
                      </a:r>
                      <a:r>
                        <a:rPr sz="1400" spc="200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инвалидизация,</a:t>
                      </a:r>
                      <a:r>
                        <a:rPr sz="1400" spc="204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продолжительность</a:t>
                      </a:r>
                      <a:r>
                        <a:rPr sz="1400" spc="204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госпитализации,</a:t>
                      </a:r>
                      <a:r>
                        <a:rPr sz="1400" spc="210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частота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нежелательных</a:t>
                      </a:r>
                      <a:r>
                        <a:rPr sz="1400" spc="1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явлений,</a:t>
                      </a:r>
                      <a:r>
                        <a:rPr sz="1400" spc="1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частота</a:t>
                      </a:r>
                      <a:r>
                        <a:rPr sz="1400" spc="1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применения</a:t>
                      </a:r>
                      <a:r>
                        <a:rPr sz="1400" spc="1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терапии</a:t>
                      </a:r>
                      <a:r>
                        <a:rPr sz="1400" spc="1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спасения,</a:t>
                      </a:r>
                      <a:r>
                        <a:rPr sz="1400" spc="1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частота</a:t>
                      </a:r>
                      <a:r>
                        <a:rPr sz="1400" spc="1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достижения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контроля</a:t>
                      </a:r>
                      <a:r>
                        <a:rPr sz="1400" spc="440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болевого</a:t>
                      </a:r>
                      <a:r>
                        <a:rPr sz="1400" spc="445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синдрома,</a:t>
                      </a:r>
                      <a:r>
                        <a:rPr sz="1400" spc="440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частота</a:t>
                      </a:r>
                      <a:r>
                        <a:rPr sz="1400" spc="440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оперативных</a:t>
                      </a:r>
                      <a:r>
                        <a:rPr sz="1400" spc="445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вмешательств,</a:t>
                      </a:r>
                      <a:r>
                        <a:rPr sz="1400" spc="445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частота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возникновения</a:t>
                      </a:r>
                      <a:r>
                        <a:rPr sz="14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осложнений</a:t>
                      </a:r>
                      <a:r>
                        <a:rPr sz="14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и</a:t>
                      </a:r>
                      <a:r>
                        <a:rPr sz="14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20" dirty="0">
                          <a:latin typeface="Calibri"/>
                          <a:cs typeface="Calibri"/>
                        </a:rPr>
                        <a:t>проч.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6350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D2DEEE"/>
                    </a:solidFill>
                  </a:tcPr>
                </a:tc>
                <a:tc>
                  <a:txBody>
                    <a:bodyPr/>
                    <a:lstStyle/>
                    <a:p>
                      <a:pPr marL="69215">
                        <a:lnSpc>
                          <a:spcPct val="100000"/>
                        </a:lnSpc>
                        <a:spcBef>
                          <a:spcPts val="500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Клинические</a:t>
                      </a:r>
                      <a:r>
                        <a:rPr sz="14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(«конечные»)</a:t>
                      </a:r>
                      <a:r>
                        <a:rPr sz="14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исходы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6350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D2DE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8016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D2DEEE"/>
                    </a:solidFill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500"/>
                        </a:spcBef>
                        <a:tabLst>
                          <a:tab pos="1068705" algn="l"/>
                          <a:tab pos="2671445" algn="l"/>
                          <a:tab pos="3767454" algn="l"/>
                          <a:tab pos="4283075" algn="l"/>
                          <a:tab pos="5163820" algn="l"/>
                          <a:tab pos="6061710" algn="l"/>
                        </a:tabLst>
                      </a:pPr>
                      <a:r>
                        <a:rPr sz="1400" spc="-10" dirty="0">
                          <a:latin typeface="Calibri"/>
                          <a:cs typeface="Calibri"/>
                        </a:rPr>
                        <a:t>Показатели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	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валидизированных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	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клинических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	</a:t>
                      </a:r>
                      <a:r>
                        <a:rPr sz="1400" spc="-20" dirty="0">
                          <a:latin typeface="Calibri"/>
                          <a:cs typeface="Calibri"/>
                        </a:rPr>
                        <a:t>шкал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	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(«золотой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	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стандарт),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	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которые</a:t>
                      </a:r>
                      <a:endParaRPr sz="1400">
                        <a:latin typeface="Calibri"/>
                        <a:cs typeface="Calibri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840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возможно</a:t>
                      </a:r>
                      <a:r>
                        <a:rPr sz="1400" spc="-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перевести</a:t>
                      </a:r>
                      <a:r>
                        <a:rPr sz="1400" spc="-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в</a:t>
                      </a:r>
                      <a:r>
                        <a:rPr sz="1400" spc="-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бинарные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 исходы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6350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AEEF7"/>
                    </a:solidFill>
                  </a:tcPr>
                </a:tc>
                <a:tc>
                  <a:txBody>
                    <a:bodyPr/>
                    <a:lstStyle/>
                    <a:p>
                      <a:pPr marL="69215">
                        <a:lnSpc>
                          <a:spcPct val="100000"/>
                        </a:lnSpc>
                        <a:spcBef>
                          <a:spcPts val="500"/>
                        </a:spcBef>
                        <a:tabLst>
                          <a:tab pos="1050925" algn="l"/>
                          <a:tab pos="1866264" algn="l"/>
                          <a:tab pos="2209165" algn="l"/>
                          <a:tab pos="3187700" algn="l"/>
                          <a:tab pos="3832860" algn="l"/>
                        </a:tabLst>
                      </a:pPr>
                      <a:r>
                        <a:rPr sz="1400" spc="-10" dirty="0">
                          <a:latin typeface="Calibri"/>
                          <a:cs typeface="Calibri"/>
                        </a:rPr>
                        <a:t>Например,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	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рецидив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	</a:t>
                      </a:r>
                      <a:r>
                        <a:rPr sz="1400" spc="-25" dirty="0">
                          <a:latin typeface="Calibri"/>
                          <a:cs typeface="Calibri"/>
                        </a:rPr>
                        <a:t>по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	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критериям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	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RECIST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	</a:t>
                      </a:r>
                      <a:r>
                        <a:rPr sz="1400" spc="-50" dirty="0">
                          <a:latin typeface="Calibri"/>
                          <a:cs typeface="Calibri"/>
                        </a:rPr>
                        <a:t>в</a:t>
                      </a:r>
                      <a:endParaRPr sz="1400">
                        <a:latin typeface="Calibri"/>
                        <a:cs typeface="Calibri"/>
                      </a:endParaRPr>
                    </a:p>
                    <a:p>
                      <a:pPr marL="69215">
                        <a:lnSpc>
                          <a:spcPct val="100000"/>
                        </a:lnSpc>
                        <a:spcBef>
                          <a:spcPts val="840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онкологии,</a:t>
                      </a:r>
                      <a:r>
                        <a:rPr sz="1400" spc="4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шкалы</a:t>
                      </a:r>
                      <a:r>
                        <a:rPr sz="1400" spc="4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в</a:t>
                      </a:r>
                      <a:r>
                        <a:rPr sz="1400" spc="4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ревматологии</a:t>
                      </a:r>
                      <a:r>
                        <a:rPr sz="1400" spc="4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(напр.,</a:t>
                      </a:r>
                      <a:r>
                        <a:rPr sz="1400" spc="4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20" dirty="0">
                          <a:latin typeface="Calibri"/>
                          <a:cs typeface="Calibri"/>
                        </a:rPr>
                        <a:t>ACR,</a:t>
                      </a:r>
                      <a:endParaRPr sz="1400">
                        <a:latin typeface="Calibri"/>
                        <a:cs typeface="Calibri"/>
                      </a:endParaRPr>
                    </a:p>
                    <a:p>
                      <a:pPr marL="69215">
                        <a:lnSpc>
                          <a:spcPct val="100000"/>
                        </a:lnSpc>
                        <a:spcBef>
                          <a:spcPts val="840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ASAS</a:t>
                      </a:r>
                      <a:r>
                        <a:rPr sz="1400" spc="105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и</a:t>
                      </a:r>
                      <a:r>
                        <a:rPr sz="1400" spc="114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др.),</a:t>
                      </a:r>
                      <a:r>
                        <a:rPr sz="1400" spc="114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оценка</a:t>
                      </a:r>
                      <a:r>
                        <a:rPr sz="1400" spc="110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комы</a:t>
                      </a:r>
                      <a:r>
                        <a:rPr sz="1400" spc="114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по</a:t>
                      </a:r>
                      <a:r>
                        <a:rPr sz="1400" spc="114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GLASGO,</a:t>
                      </a:r>
                      <a:r>
                        <a:rPr sz="1400" spc="114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шкала</a:t>
                      </a:r>
                      <a:endParaRPr sz="1400">
                        <a:latin typeface="Calibri"/>
                        <a:cs typeface="Calibri"/>
                      </a:endParaRPr>
                    </a:p>
                    <a:p>
                      <a:pPr marL="69215">
                        <a:lnSpc>
                          <a:spcPct val="100000"/>
                        </a:lnSpc>
                        <a:spcBef>
                          <a:spcPts val="845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депрессии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Бека</a:t>
                      </a:r>
                      <a:r>
                        <a:rPr sz="14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и</a:t>
                      </a:r>
                      <a:r>
                        <a:rPr sz="14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20" dirty="0">
                          <a:latin typeface="Calibri"/>
                          <a:cs typeface="Calibri"/>
                        </a:rPr>
                        <a:t>Гамильтона</a:t>
                      </a:r>
                      <a:r>
                        <a:rPr sz="14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и</a:t>
                      </a:r>
                      <a:r>
                        <a:rPr sz="1400" spc="-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25" dirty="0">
                          <a:latin typeface="Calibri"/>
                          <a:cs typeface="Calibri"/>
                        </a:rPr>
                        <a:t>др.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6350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AEE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00200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D2DEEE"/>
                    </a:solidFill>
                  </a:tcPr>
                </a:tc>
                <a:tc>
                  <a:txBody>
                    <a:bodyPr/>
                    <a:lstStyle/>
                    <a:p>
                      <a:pPr marL="68580" algn="just">
                        <a:lnSpc>
                          <a:spcPct val="100000"/>
                        </a:lnSpc>
                        <a:spcBef>
                          <a:spcPts val="505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Показатели</a:t>
                      </a:r>
                      <a:r>
                        <a:rPr sz="1400" spc="210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невалидизированных</a:t>
                      </a:r>
                      <a:r>
                        <a:rPr sz="1400" spc="225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клинических</a:t>
                      </a:r>
                      <a:r>
                        <a:rPr sz="1400" spc="215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шкал,</a:t>
                      </a:r>
                      <a:r>
                        <a:rPr sz="1400" spc="215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лабораторные</a:t>
                      </a:r>
                      <a:r>
                        <a:rPr sz="1400" spc="215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показатели,</a:t>
                      </a:r>
                      <a:endParaRPr sz="1400">
                        <a:latin typeface="Calibri"/>
                        <a:cs typeface="Calibri"/>
                      </a:endParaRPr>
                    </a:p>
                    <a:p>
                      <a:pPr marL="68580" algn="just">
                        <a:lnSpc>
                          <a:spcPct val="100000"/>
                        </a:lnSpc>
                        <a:spcBef>
                          <a:spcPts val="835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субъективные</a:t>
                      </a:r>
                      <a:r>
                        <a:rPr sz="1400" spc="160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оценки</a:t>
                      </a:r>
                      <a:r>
                        <a:rPr sz="1400" spc="155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пациентов</a:t>
                      </a:r>
                      <a:r>
                        <a:rPr sz="1400" spc="155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(в</a:t>
                      </a:r>
                      <a:r>
                        <a:rPr sz="1400" spc="160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т.ч.</a:t>
                      </a:r>
                      <a:r>
                        <a:rPr sz="1400" spc="155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по</a:t>
                      </a:r>
                      <a:r>
                        <a:rPr sz="1400" spc="155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визуальными</a:t>
                      </a:r>
                      <a:r>
                        <a:rPr sz="1400" spc="155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аналоговым</a:t>
                      </a:r>
                      <a:r>
                        <a:rPr sz="1400" spc="165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шкалам),</a:t>
                      </a:r>
                      <a:endParaRPr sz="1400">
                        <a:latin typeface="Calibri"/>
                        <a:cs typeface="Calibri"/>
                      </a:endParaRPr>
                    </a:p>
                    <a:p>
                      <a:pPr marL="68580" marR="61594" algn="just">
                        <a:lnSpc>
                          <a:spcPts val="2520"/>
                        </a:lnSpc>
                        <a:spcBef>
                          <a:spcPts val="225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продолжительность</a:t>
                      </a:r>
                      <a:r>
                        <a:rPr sz="1400" spc="4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симптомов</a:t>
                      </a:r>
                      <a:r>
                        <a:rPr sz="1400" spc="47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при</a:t>
                      </a:r>
                      <a:r>
                        <a:rPr sz="1400" spc="459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условии</a:t>
                      </a:r>
                      <a:r>
                        <a:rPr sz="1400" spc="46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наличия</a:t>
                      </a:r>
                      <a:r>
                        <a:rPr sz="1400" spc="459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клинических</a:t>
                      </a:r>
                      <a:r>
                        <a:rPr sz="1400" spc="484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исследований,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подтверждающих</a:t>
                      </a:r>
                      <a:r>
                        <a:rPr sz="1400" spc="170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ассоциированность</a:t>
                      </a:r>
                      <a:r>
                        <a:rPr sz="1400" spc="160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рассматриваемого</a:t>
                      </a:r>
                      <a:r>
                        <a:rPr sz="1400" spc="165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исхода</a:t>
                      </a:r>
                      <a:r>
                        <a:rPr sz="1400" spc="165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с</a:t>
                      </a:r>
                      <a:r>
                        <a:rPr sz="1400" spc="160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клиническими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(«конечными»)</a:t>
                      </a:r>
                      <a:r>
                        <a:rPr sz="1400" spc="-5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исходами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6413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D2DEEE"/>
                    </a:solidFill>
                  </a:tcPr>
                </a:tc>
                <a:tc>
                  <a:txBody>
                    <a:bodyPr/>
                    <a:lstStyle/>
                    <a:p>
                      <a:pPr marL="69215" algn="just">
                        <a:lnSpc>
                          <a:spcPct val="100000"/>
                        </a:lnSpc>
                        <a:spcBef>
                          <a:spcPts val="505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Примеры:</a:t>
                      </a:r>
                      <a:r>
                        <a:rPr sz="1400" spc="1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артериальное</a:t>
                      </a:r>
                      <a:r>
                        <a:rPr sz="1400" spc="1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давление</a:t>
                      </a:r>
                      <a:r>
                        <a:rPr sz="1400" spc="1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при</a:t>
                      </a:r>
                      <a:r>
                        <a:rPr sz="1400" spc="1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сердечно-</a:t>
                      </a:r>
                      <a:endParaRPr sz="1400">
                        <a:latin typeface="Calibri"/>
                        <a:cs typeface="Calibri"/>
                      </a:endParaRPr>
                    </a:p>
                    <a:p>
                      <a:pPr marL="69215" algn="just">
                        <a:lnSpc>
                          <a:spcPct val="100000"/>
                        </a:lnSpc>
                        <a:spcBef>
                          <a:spcPts val="835"/>
                        </a:spcBef>
                        <a:tabLst>
                          <a:tab pos="1561465" algn="l"/>
                          <a:tab pos="3296285" algn="l"/>
                        </a:tabLst>
                      </a:pPr>
                      <a:r>
                        <a:rPr sz="1400" spc="-10" dirty="0">
                          <a:latin typeface="Calibri"/>
                          <a:cs typeface="Calibri"/>
                        </a:rPr>
                        <a:t>сосудистых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	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заболеваниях,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	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уровень</a:t>
                      </a:r>
                      <a:endParaRPr sz="1400">
                        <a:latin typeface="Calibri"/>
                        <a:cs typeface="Calibri"/>
                      </a:endParaRPr>
                    </a:p>
                    <a:p>
                      <a:pPr marL="69215" marR="59055" algn="just">
                        <a:lnSpc>
                          <a:spcPts val="2520"/>
                        </a:lnSpc>
                        <a:spcBef>
                          <a:spcPts val="225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гликированного</a:t>
                      </a:r>
                      <a:r>
                        <a:rPr sz="1400" spc="484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гемоглобина</a:t>
                      </a:r>
                      <a:r>
                        <a:rPr sz="1400" spc="484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при</a:t>
                      </a:r>
                      <a:r>
                        <a:rPr sz="1400" spc="484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сахарном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диабете</a:t>
                      </a:r>
                      <a:r>
                        <a:rPr sz="1400" spc="2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2</a:t>
                      </a:r>
                      <a:r>
                        <a:rPr sz="1400" spc="254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типа,</a:t>
                      </a:r>
                      <a:r>
                        <a:rPr sz="1400" spc="25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полный</a:t>
                      </a:r>
                      <a:r>
                        <a:rPr sz="1400" spc="254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морфологический</a:t>
                      </a:r>
                      <a:r>
                        <a:rPr sz="1400" spc="26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ответ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при</a:t>
                      </a:r>
                      <a:r>
                        <a:rPr sz="1400" spc="-3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раке</a:t>
                      </a:r>
                      <a:r>
                        <a:rPr sz="1400" spc="-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молочной</a:t>
                      </a:r>
                      <a:r>
                        <a:rPr sz="1400" spc="-4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железы</a:t>
                      </a:r>
                      <a:r>
                        <a:rPr sz="1400" spc="-4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и</a:t>
                      </a:r>
                      <a:r>
                        <a:rPr sz="1400" spc="-25" dirty="0">
                          <a:latin typeface="Calibri"/>
                          <a:cs typeface="Calibri"/>
                        </a:rPr>
                        <a:t> др.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6413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D2DE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6240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45"/>
                        </a:spcBef>
                      </a:pPr>
                      <a:r>
                        <a:rPr sz="1800" b="1" spc="-10" dirty="0">
                          <a:latin typeface="Calibri"/>
                          <a:cs typeface="Calibri"/>
                        </a:rPr>
                        <a:t>Неважный</a:t>
                      </a:r>
                      <a:endParaRPr sz="1800">
                        <a:latin typeface="Calibri"/>
                        <a:cs typeface="Calibri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1080"/>
                        </a:spcBef>
                      </a:pPr>
                      <a:r>
                        <a:rPr sz="1800" b="1" spc="-10" dirty="0">
                          <a:latin typeface="Calibri"/>
                          <a:cs typeface="Calibri"/>
                        </a:rPr>
                        <a:t>исход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8191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AEEF7"/>
                    </a:solidFill>
                  </a:tcPr>
                </a:tc>
                <a:tc>
                  <a:txBody>
                    <a:bodyPr/>
                    <a:lstStyle/>
                    <a:p>
                      <a:pPr marL="68580">
                        <a:lnSpc>
                          <a:spcPct val="100000"/>
                        </a:lnSpc>
                        <a:spcBef>
                          <a:spcPts val="505"/>
                        </a:spcBef>
                        <a:tabLst>
                          <a:tab pos="1080770" algn="l"/>
                          <a:tab pos="2879090" algn="l"/>
                          <a:tab pos="3985895" algn="l"/>
                          <a:tab pos="4558665" algn="l"/>
                          <a:tab pos="5802630" algn="l"/>
                        </a:tabLst>
                      </a:pPr>
                      <a:r>
                        <a:rPr sz="1400" spc="-10" dirty="0">
                          <a:latin typeface="Calibri"/>
                          <a:cs typeface="Calibri"/>
                        </a:rPr>
                        <a:t>Показатели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	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невалидизированных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	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клинических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	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шкал,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	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лабораторные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	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показатели,</a:t>
                      </a:r>
                      <a:endParaRPr sz="1400">
                        <a:latin typeface="Calibri"/>
                        <a:cs typeface="Calibri"/>
                      </a:endParaRPr>
                    </a:p>
                    <a:p>
                      <a:pPr marL="68580">
                        <a:lnSpc>
                          <a:spcPct val="100000"/>
                        </a:lnSpc>
                        <a:spcBef>
                          <a:spcPts val="840"/>
                        </a:spcBef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субъективные</a:t>
                      </a:r>
                      <a:r>
                        <a:rPr sz="1400" spc="155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оценки</a:t>
                      </a:r>
                      <a:r>
                        <a:rPr sz="1400" spc="150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пациентов</a:t>
                      </a:r>
                      <a:r>
                        <a:rPr sz="1400" spc="155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(в</a:t>
                      </a:r>
                      <a:r>
                        <a:rPr sz="1400" spc="155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т.ч.</a:t>
                      </a:r>
                      <a:r>
                        <a:rPr sz="1400" spc="155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по</a:t>
                      </a:r>
                      <a:r>
                        <a:rPr sz="1400" spc="150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визуальными</a:t>
                      </a:r>
                      <a:r>
                        <a:rPr sz="1400" spc="150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аналоговым</a:t>
                      </a:r>
                      <a:r>
                        <a:rPr sz="1400" spc="160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шкалам),</a:t>
                      </a:r>
                      <a:endParaRPr sz="1400">
                        <a:latin typeface="Calibri"/>
                        <a:cs typeface="Calibri"/>
                      </a:endParaRPr>
                    </a:p>
                    <a:p>
                      <a:pPr marL="68580" marR="60960">
                        <a:lnSpc>
                          <a:spcPct val="150000"/>
                        </a:lnSpc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продолжительность</a:t>
                      </a:r>
                      <a:r>
                        <a:rPr sz="1400" spc="30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симптомов</a:t>
                      </a:r>
                      <a:r>
                        <a:rPr sz="1400" spc="3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–</a:t>
                      </a:r>
                      <a:r>
                        <a:rPr sz="1400" spc="3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суррогатные</a:t>
                      </a:r>
                      <a:r>
                        <a:rPr sz="1400" spc="32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исходы</a:t>
                      </a:r>
                      <a:r>
                        <a:rPr sz="1400" spc="3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при</a:t>
                      </a:r>
                      <a:r>
                        <a:rPr sz="1400" spc="3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отсутствии</a:t>
                      </a:r>
                      <a:r>
                        <a:rPr sz="1400" spc="31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клинических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исследований,</a:t>
                      </a:r>
                      <a:r>
                        <a:rPr sz="1400" spc="1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подтверждающих</a:t>
                      </a:r>
                      <a:r>
                        <a:rPr sz="1400" spc="1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ассоциированность</a:t>
                      </a:r>
                      <a:r>
                        <a:rPr sz="1400" spc="13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с</a:t>
                      </a:r>
                      <a:r>
                        <a:rPr sz="1400" spc="110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клиническими</a:t>
                      </a:r>
                      <a:r>
                        <a:rPr sz="1400" spc="125" dirty="0">
                          <a:latin typeface="Calibri"/>
                          <a:cs typeface="Calibri"/>
                        </a:rPr>
                        <a:t>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(«конечными»)</a:t>
                      </a:r>
                      <a:endParaRPr sz="1400">
                        <a:latin typeface="Calibri"/>
                        <a:cs typeface="Calibri"/>
                      </a:endParaRPr>
                    </a:p>
                  </a:txBody>
                  <a:tcPr marL="0" marR="0" marT="6413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AEEF7"/>
                    </a:solidFill>
                  </a:tcPr>
                </a:tc>
                <a:tc>
                  <a:txBody>
                    <a:bodyPr/>
                    <a:lstStyle/>
                    <a:p>
                      <a:pPr marL="69215">
                        <a:lnSpc>
                          <a:spcPct val="100000"/>
                        </a:lnSpc>
                        <a:spcBef>
                          <a:spcPts val="505"/>
                        </a:spcBef>
                        <a:tabLst>
                          <a:tab pos="1058545" algn="l"/>
                          <a:tab pos="2466975" algn="l"/>
                          <a:tab pos="3515995" algn="l"/>
                        </a:tabLst>
                      </a:pPr>
                      <a:r>
                        <a:rPr sz="1400" spc="-10" dirty="0">
                          <a:latin typeface="Calibri"/>
                          <a:cs typeface="Calibri"/>
                        </a:rPr>
                        <a:t>Любые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	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суррогатные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	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исходы,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	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связь</a:t>
                      </a:r>
                      <a:endParaRPr sz="1400">
                        <a:latin typeface="Calibri"/>
                        <a:cs typeface="Calibri"/>
                      </a:endParaRPr>
                    </a:p>
                    <a:p>
                      <a:pPr marL="69215">
                        <a:lnSpc>
                          <a:spcPct val="100000"/>
                        </a:lnSpc>
                        <a:spcBef>
                          <a:spcPts val="840"/>
                        </a:spcBef>
                        <a:tabLst>
                          <a:tab pos="1814830" algn="l"/>
                          <a:tab pos="2586990" algn="l"/>
                          <a:tab pos="2811145" algn="l"/>
                        </a:tabLst>
                      </a:pPr>
                      <a:r>
                        <a:rPr sz="1400" spc="-10" dirty="0">
                          <a:latin typeface="Calibri"/>
                          <a:cs typeface="Calibri"/>
                        </a:rPr>
                        <a:t>(ассоциированность)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	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которых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	</a:t>
                      </a:r>
                      <a:r>
                        <a:rPr sz="1400" spc="-50" dirty="0">
                          <a:latin typeface="Calibri"/>
                          <a:cs typeface="Calibri"/>
                        </a:rPr>
                        <a:t>с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	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клиническими</a:t>
                      </a:r>
                      <a:endParaRPr sz="1400">
                        <a:latin typeface="Calibri"/>
                        <a:cs typeface="Calibri"/>
                      </a:endParaRPr>
                    </a:p>
                    <a:p>
                      <a:pPr marL="69215" marR="60325">
                        <a:lnSpc>
                          <a:spcPct val="150000"/>
                        </a:lnSpc>
                        <a:tabLst>
                          <a:tab pos="3002280" algn="l"/>
                        </a:tabLst>
                      </a:pPr>
                      <a:r>
                        <a:rPr sz="1400" dirty="0">
                          <a:latin typeface="Calibri"/>
                          <a:cs typeface="Calibri"/>
                        </a:rPr>
                        <a:t>(«конечными»)</a:t>
                      </a:r>
                      <a:r>
                        <a:rPr sz="1400" spc="130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исходами</a:t>
                      </a:r>
                      <a:r>
                        <a:rPr sz="1400" spc="130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не</a:t>
                      </a:r>
                      <a:r>
                        <a:rPr sz="1400" spc="130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доказана</a:t>
                      </a:r>
                      <a:r>
                        <a:rPr sz="1400" spc="135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или</a:t>
                      </a:r>
                      <a:r>
                        <a:rPr sz="1400" spc="130" dirty="0">
                          <a:latin typeface="Calibri"/>
                          <a:cs typeface="Calibri"/>
                        </a:rPr>
                        <a:t>  </a:t>
                      </a:r>
                      <a:r>
                        <a:rPr sz="1400" spc="-25" dirty="0">
                          <a:latin typeface="Calibri"/>
                          <a:cs typeface="Calibri"/>
                        </a:rPr>
                        <a:t>не </a:t>
                      </a:r>
                      <a:r>
                        <a:rPr sz="1400" spc="-10" dirty="0">
                          <a:latin typeface="Calibri"/>
                          <a:cs typeface="Calibri"/>
                        </a:rPr>
                        <a:t>изучалась</a:t>
                      </a:r>
                      <a:r>
                        <a:rPr sz="1400" dirty="0">
                          <a:latin typeface="Calibri"/>
                          <a:cs typeface="Calibri"/>
                        </a:rPr>
                        <a:t>	</a:t>
                      </a:r>
                      <a:r>
                        <a:rPr sz="1200" spc="-25" dirty="0">
                          <a:solidFill>
                            <a:srgbClr val="8496AF"/>
                          </a:solidFill>
                          <a:latin typeface="Arial"/>
                          <a:cs typeface="Arial"/>
                        </a:rPr>
                        <a:t>15</a:t>
                      </a:r>
                      <a:endParaRPr sz="1200">
                        <a:latin typeface="Arial"/>
                        <a:cs typeface="Arial"/>
                      </a:endParaRPr>
                    </a:p>
                  </a:txBody>
                  <a:tcPr marL="0" marR="0" marT="6413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AEE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F90821E-8FC3-428F-A2B0-8C21B664F9A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73009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14068" y="251587"/>
            <a:ext cx="834499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200" dirty="0"/>
              <a:t>Оценка</a:t>
            </a:r>
            <a:r>
              <a:rPr sz="3200" spc="-105" dirty="0"/>
              <a:t> </a:t>
            </a:r>
            <a:r>
              <a:rPr sz="3200" dirty="0"/>
              <a:t>важности</a:t>
            </a:r>
            <a:r>
              <a:rPr sz="3200" spc="-90" dirty="0"/>
              <a:t> </a:t>
            </a:r>
            <a:r>
              <a:rPr sz="3200" spc="-10" dirty="0"/>
              <a:t>исходов</a:t>
            </a:r>
            <a:endParaRPr sz="3200"/>
          </a:p>
        </p:txBody>
      </p:sp>
      <p:sp>
        <p:nvSpPr>
          <p:cNvPr id="4" name="object 4"/>
          <p:cNvSpPr txBox="1">
            <a:spLocks noGrp="1"/>
          </p:cNvSpPr>
          <p:nvPr>
            <p:ph type="sldNum" sz="quarter" idx="7"/>
          </p:nvPr>
        </p:nvSpPr>
        <p:spPr>
          <a:xfrm>
            <a:off x="11053571" y="6446122"/>
            <a:ext cx="259715" cy="1962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kern="0"/>
            </a:defPPr>
            <a:lvl1pPr>
              <a:defRPr sz="1200" b="0" i="0">
                <a:solidFill>
                  <a:srgbClr val="8496AF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lang="ru-RU" spc="-25" smtClean="0">
                <a:solidFill>
                  <a:srgbClr val="000000"/>
                </a:solidFill>
              </a:rPr>
              <a:pPr marL="38100">
                <a:lnSpc>
                  <a:spcPts val="1425"/>
                </a:lnSpc>
              </a:pPr>
              <a:t>34</a:t>
            </a:fld>
            <a:endParaRPr spc="-25" dirty="0"/>
          </a:p>
        </p:txBody>
      </p:sp>
      <p:sp>
        <p:nvSpPr>
          <p:cNvPr id="3" name="object 3"/>
          <p:cNvSpPr txBox="1"/>
          <p:nvPr/>
        </p:nvSpPr>
        <p:spPr>
          <a:xfrm>
            <a:off x="2540" y="981202"/>
            <a:ext cx="11807022" cy="5645263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546100" marR="94615" indent="-457200" algn="just">
              <a:lnSpc>
                <a:spcPct val="90000"/>
              </a:lnSpc>
              <a:spcBef>
                <a:spcPts val="385"/>
              </a:spcBef>
              <a:buClr>
                <a:srgbClr val="5B9BD4"/>
              </a:buClr>
              <a:buSzPct val="79166"/>
              <a:buFont typeface="Arial"/>
              <a:buChar char="•"/>
              <a:tabLst>
                <a:tab pos="546100" algn="l"/>
              </a:tabLst>
            </a:pPr>
            <a:r>
              <a:rPr sz="2400" b="1" dirty="0">
                <a:solidFill>
                  <a:srgbClr val="252525"/>
                </a:solidFill>
                <a:latin typeface="Arial"/>
                <a:cs typeface="Arial"/>
              </a:rPr>
              <a:t>Связь</a:t>
            </a:r>
            <a:r>
              <a:rPr sz="2400" b="1" spc="1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b="1" dirty="0">
                <a:solidFill>
                  <a:srgbClr val="252525"/>
                </a:solidFill>
                <a:latin typeface="Arial"/>
                <a:cs typeface="Arial"/>
              </a:rPr>
              <a:t>(ассоциированность)</a:t>
            </a:r>
            <a:r>
              <a:rPr sz="2400" b="1" spc="1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суррогатного</a:t>
            </a:r>
            <a:r>
              <a:rPr sz="2400" spc="1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исхода</a:t>
            </a:r>
            <a:r>
              <a:rPr sz="2400" spc="14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с</a:t>
            </a:r>
            <a:r>
              <a:rPr sz="2400" spc="13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клиническим</a:t>
            </a:r>
            <a:r>
              <a:rPr sz="2400" spc="1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252525"/>
                </a:solidFill>
                <a:latin typeface="Arial"/>
                <a:cs typeface="Arial"/>
              </a:rPr>
              <a:t>(«конечным»)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исходом</a:t>
            </a:r>
            <a:r>
              <a:rPr sz="2400" spc="330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должна</a:t>
            </a:r>
            <a:r>
              <a:rPr sz="2400" spc="335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быть</a:t>
            </a:r>
            <a:r>
              <a:rPr sz="2400" spc="335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доказана</a:t>
            </a:r>
            <a:r>
              <a:rPr sz="2400" spc="335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на</a:t>
            </a:r>
            <a:r>
              <a:rPr sz="2400" spc="340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основе</a:t>
            </a:r>
            <a:r>
              <a:rPr sz="2400" spc="330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результатов</a:t>
            </a:r>
            <a:r>
              <a:rPr sz="2400" spc="330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КИ</a:t>
            </a:r>
            <a:r>
              <a:rPr sz="2400" spc="335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с</a:t>
            </a:r>
            <a:r>
              <a:rPr sz="2400" spc="330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spc="-10" dirty="0">
                <a:solidFill>
                  <a:srgbClr val="252525"/>
                </a:solidFill>
                <a:latin typeface="Arial"/>
                <a:cs typeface="Arial"/>
              </a:rPr>
              <a:t>помощью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использования</a:t>
            </a:r>
            <a:r>
              <a:rPr sz="2400" spc="45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взвешенной</a:t>
            </a:r>
            <a:r>
              <a:rPr sz="2400" spc="45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линейной</a:t>
            </a:r>
            <a:r>
              <a:rPr sz="2400" spc="50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регрессионной</a:t>
            </a:r>
            <a:r>
              <a:rPr sz="2400" spc="50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модели</a:t>
            </a:r>
            <a:r>
              <a:rPr sz="2400" spc="45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(англ.</a:t>
            </a:r>
            <a:r>
              <a:rPr sz="2400" spc="35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spc="-10" dirty="0">
                <a:solidFill>
                  <a:srgbClr val="252525"/>
                </a:solidFill>
                <a:latin typeface="Arial"/>
                <a:cs typeface="Arial"/>
              </a:rPr>
              <a:t>weighted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linear</a:t>
            </a:r>
            <a:r>
              <a:rPr sz="2400" spc="130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regression</a:t>
            </a:r>
            <a:r>
              <a:rPr sz="2400" spc="125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model)</a:t>
            </a:r>
            <a:r>
              <a:rPr sz="2400" spc="130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и</a:t>
            </a:r>
            <a:r>
              <a:rPr sz="2400" spc="114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коэффициента</a:t>
            </a:r>
            <a:r>
              <a:rPr sz="2400" spc="130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детерминации</a:t>
            </a:r>
            <a:r>
              <a:rPr sz="2400" spc="130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R</a:t>
            </a:r>
            <a:r>
              <a:rPr sz="2400" baseline="24305" dirty="0">
                <a:solidFill>
                  <a:srgbClr val="252525"/>
                </a:solidFill>
                <a:latin typeface="Arial"/>
                <a:cs typeface="Arial"/>
              </a:rPr>
              <a:t>2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,</a:t>
            </a:r>
            <a:r>
              <a:rPr sz="2400" spc="125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который</a:t>
            </a:r>
            <a:r>
              <a:rPr sz="2400" spc="125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spc="-10" dirty="0">
                <a:solidFill>
                  <a:srgbClr val="252525"/>
                </a:solidFill>
                <a:latin typeface="Arial"/>
                <a:cs typeface="Arial"/>
              </a:rPr>
              <a:t>может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принимать</a:t>
            </a:r>
            <a:r>
              <a:rPr sz="2400" spc="-20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значения</a:t>
            </a:r>
            <a:r>
              <a:rPr sz="2400" spc="-10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от</a:t>
            </a:r>
            <a:r>
              <a:rPr sz="2400" spc="-15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0</a:t>
            </a:r>
            <a:r>
              <a:rPr sz="2400" spc="-25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до</a:t>
            </a:r>
            <a:r>
              <a:rPr sz="2400" spc="-30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1,</a:t>
            </a:r>
            <a:r>
              <a:rPr sz="2400" spc="-15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где:</a:t>
            </a:r>
            <a:r>
              <a:rPr sz="2400" spc="-15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0</a:t>
            </a:r>
            <a:r>
              <a:rPr sz="2400" spc="-30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–</a:t>
            </a:r>
            <a:r>
              <a:rPr sz="2400" spc="-15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отсутствие</a:t>
            </a:r>
            <a:r>
              <a:rPr sz="2400" spc="-20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spc="-10" dirty="0">
                <a:solidFill>
                  <a:srgbClr val="252525"/>
                </a:solidFill>
                <a:latin typeface="Arial"/>
                <a:cs typeface="Arial"/>
              </a:rPr>
              <a:t>зависимости/корреляции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суррогатного</a:t>
            </a:r>
            <a:r>
              <a:rPr sz="2400" spc="455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исхода</a:t>
            </a:r>
            <a:r>
              <a:rPr sz="2400" spc="459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от</a:t>
            </a:r>
            <a:r>
              <a:rPr sz="2400" spc="450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клинического</a:t>
            </a:r>
            <a:r>
              <a:rPr sz="2400" spc="459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(«конечного)</a:t>
            </a:r>
            <a:r>
              <a:rPr sz="2400" spc="459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исхода;</a:t>
            </a:r>
            <a:r>
              <a:rPr sz="2400" spc="455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1</a:t>
            </a:r>
            <a:r>
              <a:rPr sz="2400" spc="455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–</a:t>
            </a:r>
            <a:r>
              <a:rPr sz="2400" spc="455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spc="-10" dirty="0">
                <a:solidFill>
                  <a:srgbClr val="252525"/>
                </a:solidFill>
                <a:latin typeface="Arial"/>
                <a:cs typeface="Arial"/>
              </a:rPr>
              <a:t>полная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зависимость/корреляция</a:t>
            </a:r>
            <a:r>
              <a:rPr sz="2400" spc="125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суррогатного</a:t>
            </a:r>
            <a:r>
              <a:rPr sz="2400" spc="114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исхода</a:t>
            </a:r>
            <a:r>
              <a:rPr sz="2400" spc="125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от</a:t>
            </a:r>
            <a:r>
              <a:rPr sz="2400" spc="120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клинического</a:t>
            </a:r>
            <a:r>
              <a:rPr sz="2400" spc="120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spc="-10" dirty="0">
                <a:solidFill>
                  <a:srgbClr val="252525"/>
                </a:solidFill>
                <a:latin typeface="Arial"/>
                <a:cs typeface="Arial"/>
              </a:rPr>
              <a:t>(«конечного») исхода.</a:t>
            </a:r>
            <a:endParaRPr sz="2400" dirty="0">
              <a:latin typeface="Arial"/>
              <a:cs typeface="Arial"/>
            </a:endParaRPr>
          </a:p>
          <a:p>
            <a:pPr marL="546100" indent="-457200" algn="just">
              <a:lnSpc>
                <a:spcPts val="2735"/>
              </a:lnSpc>
              <a:spcBef>
                <a:spcPts val="710"/>
              </a:spcBef>
              <a:buClr>
                <a:srgbClr val="5B9BD4"/>
              </a:buClr>
              <a:buSzPct val="79166"/>
              <a:buChar char="•"/>
              <a:tabLst>
                <a:tab pos="546100" algn="l"/>
              </a:tabLst>
            </a:pP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Рекомендуется</a:t>
            </a:r>
            <a:r>
              <a:rPr sz="2400" spc="3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интерпретировать</a:t>
            </a:r>
            <a:r>
              <a:rPr sz="2400" spc="3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значение</a:t>
            </a:r>
            <a:r>
              <a:rPr sz="2400" spc="3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коэффициент</a:t>
            </a:r>
            <a:r>
              <a:rPr sz="2400" spc="3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детерминации</a:t>
            </a:r>
            <a:r>
              <a:rPr sz="2400" spc="36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R</a:t>
            </a:r>
            <a:r>
              <a:rPr sz="2400" baseline="24305" dirty="0">
                <a:solidFill>
                  <a:srgbClr val="252525"/>
                </a:solidFill>
                <a:latin typeface="Arial"/>
                <a:cs typeface="Arial"/>
              </a:rPr>
              <a:t>2</a:t>
            </a:r>
            <a:r>
              <a:rPr sz="2400" spc="97" baseline="24305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spc="-25" dirty="0">
                <a:solidFill>
                  <a:srgbClr val="252525"/>
                </a:solidFill>
                <a:latin typeface="Arial"/>
                <a:cs typeface="Arial"/>
              </a:rPr>
              <a:t>от</a:t>
            </a:r>
            <a:endParaRPr sz="2400" dirty="0">
              <a:latin typeface="Arial"/>
              <a:cs typeface="Arial"/>
            </a:endParaRPr>
          </a:p>
          <a:p>
            <a:pPr marL="546100" marR="93980" algn="just">
              <a:lnSpc>
                <a:spcPts val="2590"/>
              </a:lnSpc>
              <a:spcBef>
                <a:spcPts val="185"/>
              </a:spcBef>
            </a:pP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≥0,50</a:t>
            </a:r>
            <a:r>
              <a:rPr sz="2400" spc="535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до</a:t>
            </a:r>
            <a:r>
              <a:rPr sz="2400" spc="530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&lt;0,80</a:t>
            </a:r>
            <a:r>
              <a:rPr sz="2400" spc="540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как</a:t>
            </a:r>
            <a:r>
              <a:rPr sz="2400" spc="540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приемлемую</a:t>
            </a:r>
            <a:r>
              <a:rPr sz="2400" spc="540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корреляцию,</a:t>
            </a:r>
            <a:r>
              <a:rPr sz="2400" spc="545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значение</a:t>
            </a:r>
            <a:r>
              <a:rPr sz="2400" spc="535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spc="-10" dirty="0">
                <a:solidFill>
                  <a:srgbClr val="252525"/>
                </a:solidFill>
                <a:latin typeface="Arial"/>
                <a:cs typeface="Arial"/>
              </a:rPr>
              <a:t>коэффициента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детерминации</a:t>
            </a:r>
            <a:r>
              <a:rPr sz="2400" spc="52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R</a:t>
            </a:r>
            <a:r>
              <a:rPr sz="2400" baseline="24305" dirty="0">
                <a:solidFill>
                  <a:srgbClr val="252525"/>
                </a:solidFill>
                <a:latin typeface="Arial"/>
                <a:cs typeface="Arial"/>
              </a:rPr>
              <a:t>2</a:t>
            </a:r>
            <a:r>
              <a:rPr sz="2400" spc="217" baseline="24305" dirty="0">
                <a:solidFill>
                  <a:srgbClr val="252525"/>
                </a:solidFill>
                <a:latin typeface="Arial"/>
                <a:cs typeface="Arial"/>
              </a:rPr>
              <a:t> 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≥0,80</a:t>
            </a:r>
            <a:r>
              <a:rPr sz="2400" spc="509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как</a:t>
            </a:r>
            <a:r>
              <a:rPr sz="2400" spc="52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значительную</a:t>
            </a:r>
            <a:r>
              <a:rPr sz="2400" spc="52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корреляцию</a:t>
            </a:r>
            <a:r>
              <a:rPr sz="2400" spc="52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суррогатного</a:t>
            </a:r>
            <a:r>
              <a:rPr sz="2400" spc="51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исхода</a:t>
            </a:r>
            <a:r>
              <a:rPr sz="2400" spc="51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spc="-50" dirty="0">
                <a:solidFill>
                  <a:srgbClr val="252525"/>
                </a:solidFill>
                <a:latin typeface="Arial"/>
                <a:cs typeface="Arial"/>
              </a:rPr>
              <a:t>с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клиническим</a:t>
            </a:r>
            <a:r>
              <a:rPr sz="2400" spc="-7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dirty="0">
                <a:solidFill>
                  <a:srgbClr val="252525"/>
                </a:solidFill>
                <a:latin typeface="Arial"/>
                <a:cs typeface="Arial"/>
              </a:rPr>
              <a:t>«конечным»</a:t>
            </a:r>
            <a:r>
              <a:rPr sz="2400" spc="-2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spc="-10" dirty="0">
                <a:solidFill>
                  <a:srgbClr val="252525"/>
                </a:solidFill>
                <a:latin typeface="Arial"/>
                <a:cs typeface="Arial"/>
              </a:rPr>
              <a:t>исходом.</a:t>
            </a:r>
            <a:endParaRPr sz="2400" dirty="0">
              <a:latin typeface="Arial"/>
              <a:cs typeface="Arial"/>
            </a:endParaRPr>
          </a:p>
          <a:p>
            <a:pPr marL="546100" marR="97155" indent="-457200" algn="just">
              <a:lnSpc>
                <a:spcPts val="2590"/>
              </a:lnSpc>
              <a:spcBef>
                <a:spcPts val="1000"/>
              </a:spcBef>
              <a:buClr>
                <a:srgbClr val="5B9BD4"/>
              </a:buClr>
              <a:buSzPct val="79166"/>
              <a:buFont typeface="Arial"/>
              <a:buChar char="•"/>
              <a:tabLst>
                <a:tab pos="546100" algn="l"/>
              </a:tabLst>
            </a:pPr>
            <a:r>
              <a:rPr sz="2400" b="1" i="1" dirty="0">
                <a:solidFill>
                  <a:srgbClr val="252525"/>
                </a:solidFill>
                <a:latin typeface="Arial"/>
                <a:cs typeface="Arial"/>
              </a:rPr>
              <a:t>Пример:</a:t>
            </a:r>
            <a:r>
              <a:rPr sz="2400" b="1" i="1" spc="24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dirty="0">
                <a:solidFill>
                  <a:srgbClr val="252525"/>
                </a:solidFill>
                <a:latin typeface="Arial"/>
                <a:cs typeface="Arial"/>
              </a:rPr>
              <a:t>более</a:t>
            </a:r>
            <a:r>
              <a:rPr sz="2400" i="1" spc="254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dirty="0">
                <a:solidFill>
                  <a:srgbClr val="252525"/>
                </a:solidFill>
                <a:latin typeface="Arial"/>
                <a:cs typeface="Arial"/>
              </a:rPr>
              <a:t>низкий</a:t>
            </a:r>
            <a:r>
              <a:rPr sz="2400" i="1" spc="27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dirty="0">
                <a:solidFill>
                  <a:srgbClr val="252525"/>
                </a:solidFill>
                <a:latin typeface="Arial"/>
                <a:cs typeface="Arial"/>
              </a:rPr>
              <a:t>уровень</a:t>
            </a:r>
            <a:r>
              <a:rPr sz="2400" i="1" spc="26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dirty="0">
                <a:solidFill>
                  <a:srgbClr val="252525"/>
                </a:solidFill>
                <a:latin typeface="Arial"/>
                <a:cs typeface="Arial"/>
              </a:rPr>
              <a:t>вирусной</a:t>
            </a:r>
            <a:r>
              <a:rPr sz="2400" i="1" spc="26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dirty="0">
                <a:solidFill>
                  <a:srgbClr val="252525"/>
                </a:solidFill>
                <a:latin typeface="Arial"/>
                <a:cs typeface="Arial"/>
              </a:rPr>
              <a:t>нагрузки</a:t>
            </a:r>
            <a:r>
              <a:rPr sz="2400" i="1" spc="27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dirty="0">
                <a:solidFill>
                  <a:srgbClr val="252525"/>
                </a:solidFill>
                <a:latin typeface="Arial"/>
                <a:cs typeface="Arial"/>
              </a:rPr>
              <a:t>(РНК</a:t>
            </a:r>
            <a:r>
              <a:rPr sz="2400" i="1" spc="26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dirty="0">
                <a:solidFill>
                  <a:srgbClr val="252525"/>
                </a:solidFill>
                <a:latin typeface="Arial"/>
                <a:cs typeface="Arial"/>
              </a:rPr>
              <a:t>вируса</a:t>
            </a:r>
            <a:r>
              <a:rPr sz="2400" i="1" spc="2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dirty="0">
                <a:solidFill>
                  <a:srgbClr val="252525"/>
                </a:solidFill>
                <a:latin typeface="Arial"/>
                <a:cs typeface="Arial"/>
              </a:rPr>
              <a:t>в</a:t>
            </a:r>
            <a:r>
              <a:rPr sz="2400" i="1" spc="2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dirty="0">
                <a:solidFill>
                  <a:srgbClr val="252525"/>
                </a:solidFill>
                <a:latin typeface="Arial"/>
                <a:cs typeface="Arial"/>
              </a:rPr>
              <a:t>крови</a:t>
            </a:r>
            <a:r>
              <a:rPr sz="2400" i="1" spc="26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spc="-10" dirty="0">
                <a:solidFill>
                  <a:srgbClr val="252525"/>
                </a:solidFill>
                <a:latin typeface="Arial"/>
                <a:cs typeface="Arial"/>
              </a:rPr>
              <a:t>менее </a:t>
            </a:r>
            <a:r>
              <a:rPr sz="2400" i="1" dirty="0">
                <a:solidFill>
                  <a:srgbClr val="252525"/>
                </a:solidFill>
                <a:latin typeface="Arial"/>
                <a:cs typeface="Arial"/>
              </a:rPr>
              <a:t>25</a:t>
            </a:r>
            <a:r>
              <a:rPr sz="2400" i="1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dirty="0">
                <a:solidFill>
                  <a:srgbClr val="252525"/>
                </a:solidFill>
                <a:latin typeface="Arial"/>
                <a:cs typeface="Arial"/>
              </a:rPr>
              <a:t>копий/мл)</a:t>
            </a:r>
            <a:r>
              <a:rPr sz="2400" i="1" spc="-6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dirty="0">
                <a:solidFill>
                  <a:srgbClr val="252525"/>
                </a:solidFill>
                <a:latin typeface="Arial"/>
                <a:cs typeface="Arial"/>
              </a:rPr>
              <a:t>через</a:t>
            </a:r>
            <a:r>
              <a:rPr sz="2400" i="1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dirty="0">
                <a:solidFill>
                  <a:srgbClr val="252525"/>
                </a:solidFill>
                <a:latin typeface="Arial"/>
                <a:cs typeface="Arial"/>
              </a:rPr>
              <a:t>36</a:t>
            </a:r>
            <a:r>
              <a:rPr sz="2400" i="1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dirty="0">
                <a:solidFill>
                  <a:srgbClr val="252525"/>
                </a:solidFill>
                <a:latin typeface="Arial"/>
                <a:cs typeface="Arial"/>
              </a:rPr>
              <a:t>недель</a:t>
            </a:r>
            <a:r>
              <a:rPr sz="2400" i="1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dirty="0">
                <a:solidFill>
                  <a:srgbClr val="252525"/>
                </a:solidFill>
                <a:latin typeface="Arial"/>
                <a:cs typeface="Arial"/>
              </a:rPr>
              <a:t>после</a:t>
            </a:r>
            <a:r>
              <a:rPr sz="2400" i="1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spc="-10" dirty="0">
                <a:solidFill>
                  <a:srgbClr val="252525"/>
                </a:solidFill>
                <a:latin typeface="Arial"/>
                <a:cs typeface="Arial"/>
              </a:rPr>
              <a:t>начала</a:t>
            </a:r>
            <a:r>
              <a:rPr sz="2400" i="1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dirty="0">
                <a:solidFill>
                  <a:srgbClr val="252525"/>
                </a:solidFill>
                <a:latin typeface="Arial"/>
                <a:cs typeface="Arial"/>
              </a:rPr>
              <a:t>ПВТ</a:t>
            </a:r>
            <a:r>
              <a:rPr sz="2400" i="1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dirty="0">
                <a:solidFill>
                  <a:srgbClr val="252525"/>
                </a:solidFill>
                <a:latin typeface="Arial"/>
                <a:cs typeface="Arial"/>
              </a:rPr>
              <a:t>ассоциировано</a:t>
            </a:r>
            <a:r>
              <a:rPr sz="2400" i="1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dirty="0">
                <a:solidFill>
                  <a:srgbClr val="252525"/>
                </a:solidFill>
                <a:latin typeface="Arial"/>
                <a:cs typeface="Arial"/>
              </a:rPr>
              <a:t>с</a:t>
            </a:r>
            <a:r>
              <a:rPr sz="2400" i="1" spc="-5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dirty="0">
                <a:solidFill>
                  <a:srgbClr val="252525"/>
                </a:solidFill>
                <a:latin typeface="Arial"/>
                <a:cs typeface="Arial"/>
              </a:rPr>
              <a:t>более</a:t>
            </a:r>
            <a:r>
              <a:rPr sz="2400" i="1" spc="-6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spc="-10" dirty="0">
                <a:solidFill>
                  <a:srgbClr val="252525"/>
                </a:solidFill>
                <a:latin typeface="Arial"/>
                <a:cs typeface="Arial"/>
              </a:rPr>
              <a:t>высокой </a:t>
            </a:r>
            <a:r>
              <a:rPr sz="2400" i="1" dirty="0">
                <a:solidFill>
                  <a:srgbClr val="252525"/>
                </a:solidFill>
                <a:latin typeface="Arial"/>
                <a:cs typeface="Arial"/>
              </a:rPr>
              <a:t>продолжительностью</a:t>
            </a:r>
            <a:r>
              <a:rPr sz="2400" i="1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dirty="0">
                <a:solidFill>
                  <a:srgbClr val="252525"/>
                </a:solidFill>
                <a:latin typeface="Arial"/>
                <a:cs typeface="Arial"/>
              </a:rPr>
              <a:t>жизни</a:t>
            </a:r>
            <a:r>
              <a:rPr sz="2400" i="1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dirty="0">
                <a:solidFill>
                  <a:srgbClr val="252525"/>
                </a:solidFill>
                <a:latin typeface="Arial"/>
                <a:cs typeface="Arial"/>
              </a:rPr>
              <a:t>у</a:t>
            </a:r>
            <a:r>
              <a:rPr sz="2400" i="1" spc="-7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dirty="0">
                <a:solidFill>
                  <a:srgbClr val="252525"/>
                </a:solidFill>
                <a:latin typeface="Arial"/>
                <a:cs typeface="Arial"/>
              </a:rPr>
              <a:t>пациентов</a:t>
            </a:r>
            <a:r>
              <a:rPr sz="2400" i="1" spc="-30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dirty="0">
                <a:solidFill>
                  <a:srgbClr val="252525"/>
                </a:solidFill>
                <a:latin typeface="Arial"/>
                <a:cs typeface="Arial"/>
              </a:rPr>
              <a:t>с</a:t>
            </a:r>
            <a:r>
              <a:rPr sz="2400" i="1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dirty="0">
                <a:solidFill>
                  <a:srgbClr val="252525"/>
                </a:solidFill>
                <a:latin typeface="Arial"/>
                <a:cs typeface="Arial"/>
              </a:rPr>
              <a:t>ХГС</a:t>
            </a:r>
            <a:r>
              <a:rPr sz="2400" i="1" spc="-5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dirty="0">
                <a:solidFill>
                  <a:srgbClr val="252525"/>
                </a:solidFill>
                <a:latin typeface="Arial"/>
                <a:cs typeface="Arial"/>
              </a:rPr>
              <a:t>(R</a:t>
            </a:r>
            <a:r>
              <a:rPr sz="2400" i="1" baseline="24305" dirty="0">
                <a:solidFill>
                  <a:srgbClr val="252525"/>
                </a:solidFill>
                <a:latin typeface="Arial"/>
                <a:cs typeface="Arial"/>
              </a:rPr>
              <a:t>2</a:t>
            </a:r>
            <a:r>
              <a:rPr sz="2400" i="1" dirty="0">
                <a:solidFill>
                  <a:srgbClr val="252525"/>
                </a:solidFill>
                <a:latin typeface="Arial"/>
                <a:cs typeface="Arial"/>
              </a:rPr>
              <a:t>=0,85,</a:t>
            </a:r>
            <a:r>
              <a:rPr sz="2400" i="1" spc="-65" dirty="0">
                <a:solidFill>
                  <a:srgbClr val="252525"/>
                </a:solidFill>
                <a:latin typeface="Arial"/>
                <a:cs typeface="Arial"/>
              </a:rPr>
              <a:t> </a:t>
            </a:r>
            <a:r>
              <a:rPr sz="2400" i="1" spc="-10" dirty="0">
                <a:solidFill>
                  <a:srgbClr val="252525"/>
                </a:solidFill>
                <a:latin typeface="Arial"/>
                <a:cs typeface="Arial"/>
              </a:rPr>
              <a:t>P=0,0015)</a:t>
            </a:r>
            <a:endParaRPr sz="2400" dirty="0">
              <a:latin typeface="Arial"/>
              <a:cs typeface="Arial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5E92CCE-B7C5-4FEC-9577-2F331A32504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85006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1C17D2C-B480-461E-A373-596918BBA4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222404C-4925-4F99-9686-8F08CE2180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4D1D5F8-0EAB-41F2-827B-A0D33F42D5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583" y="1364364"/>
            <a:ext cx="10967049" cy="4551363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A2D7EE9-02E3-4FC2-AB6F-FA3BFBEEBA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74647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/>
          </p:cNvSpPr>
          <p:nvPr>
            <p:ph type="title"/>
          </p:nvPr>
        </p:nvSpPr>
        <p:spPr>
          <a:xfrm>
            <a:off x="342867" y="134144"/>
            <a:ext cx="8004629" cy="792162"/>
          </a:xfrm>
        </p:spPr>
        <p:txBody>
          <a:bodyPr/>
          <a:lstStyle/>
          <a:p>
            <a:pPr eaLnBrk="1" hangingPunct="1"/>
            <a:r>
              <a:rPr lang="ru-RU" altLang="en-US" sz="3600" dirty="0">
                <a:solidFill>
                  <a:schemeClr val="bg1">
                    <a:lumMod val="90000"/>
                    <a:lumOff val="10000"/>
                  </a:schemeClr>
                </a:solidFill>
                <a:latin typeface="+mj-lt"/>
              </a:rPr>
              <a:t>Первичные данные</a:t>
            </a:r>
            <a:endParaRPr lang="en-US" altLang="en-US" sz="3600" dirty="0">
              <a:solidFill>
                <a:schemeClr val="bg1">
                  <a:lumMod val="90000"/>
                  <a:lumOff val="10000"/>
                </a:schemeClr>
              </a:solidFill>
              <a:latin typeface="+mj-lt"/>
            </a:endParaRPr>
          </a:p>
        </p:txBody>
      </p:sp>
      <p:sp>
        <p:nvSpPr>
          <p:cNvPr id="22531" name="Rectangle 3"/>
          <p:cNvSpPr>
            <a:spLocks noGrp="1"/>
          </p:cNvSpPr>
          <p:nvPr>
            <p:ph type="body" idx="4294967295"/>
          </p:nvPr>
        </p:nvSpPr>
        <p:spPr>
          <a:xfrm>
            <a:off x="342866" y="1476375"/>
            <a:ext cx="10673065" cy="4851400"/>
          </a:xfrm>
        </p:spPr>
        <p:txBody>
          <a:bodyPr/>
          <a:lstStyle/>
          <a:p>
            <a:pPr algn="just" eaLnBrk="1" hangingPunct="1">
              <a:spcBef>
                <a:spcPct val="40000"/>
              </a:spcBef>
            </a:pPr>
            <a:r>
              <a:rPr lang="ru-RU" altLang="en-US" dirty="0"/>
              <a:t>Вся информация, содержащаяся в оригинальных медицинских записях и их заверенных копиях, описывающая результаты клинических наблюдений, исследований или другой деятельности в рамках исследования, а также информация о состоянии пациента до, во время и после исследования,  позволяющая воссоздать ход клинического исследования и оценить его. </a:t>
            </a:r>
            <a:endParaRPr lang="en-US" altLang="en-US" dirty="0"/>
          </a:p>
          <a:p>
            <a:pPr algn="just" eaLnBrk="1" hangingPunct="1">
              <a:spcBef>
                <a:spcPct val="40000"/>
              </a:spcBef>
            </a:pPr>
            <a:r>
              <a:rPr lang="ru-RU" altLang="en-US" dirty="0"/>
              <a:t>Первичные данные содержатся в первичных документах</a:t>
            </a:r>
            <a:endParaRPr lang="en-US" altLang="en-US" dirty="0"/>
          </a:p>
          <a:p>
            <a:pPr eaLnBrk="1" hangingPunct="1"/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66AA3EA-0569-43EF-BBA3-83FDB109D582}" type="slidenum">
              <a:rPr lang="en-US" noProof="0" smtClean="0"/>
              <a:pPr/>
              <a:t>36</a:t>
            </a:fld>
            <a:endParaRPr lang="en-US" noProof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75AD25A-BE94-460A-A43D-79356817C43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AutoShape 2"/>
          <p:cNvSpPr>
            <a:spLocks noGrp="1" noChangeArrowheads="1"/>
          </p:cNvSpPr>
          <p:nvPr>
            <p:ph type="title"/>
          </p:nvPr>
        </p:nvSpPr>
        <p:spPr>
          <a:xfrm>
            <a:off x="2317524" y="292555"/>
            <a:ext cx="7317014" cy="619125"/>
          </a:xfrm>
        </p:spPr>
        <p:txBody>
          <a:bodyPr/>
          <a:lstStyle/>
          <a:p>
            <a:pPr algn="ctr" eaLnBrk="1" hangingPunct="1"/>
            <a:r>
              <a:rPr lang="ru-RU" altLang="en-US" sz="3600" dirty="0">
                <a:solidFill>
                  <a:srgbClr val="C91124"/>
                </a:solidFill>
              </a:rPr>
              <a:t>Процесс регистрации данных</a:t>
            </a:r>
          </a:p>
        </p:txBody>
      </p:sp>
      <p:pic>
        <p:nvPicPr>
          <p:cNvPr id="23555" name="Picture 3" descr="AG00029_"/>
          <p:cNvPicPr>
            <a:picLocks noChangeAspect="1" noChangeArrowheads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8138" y="1792289"/>
            <a:ext cx="1524000" cy="1360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56" name="AutoShape 4"/>
          <p:cNvSpPr>
            <a:spLocks noChangeArrowheads="1"/>
          </p:cNvSpPr>
          <p:nvPr/>
        </p:nvSpPr>
        <p:spPr bwMode="auto">
          <a:xfrm>
            <a:off x="7348539" y="2244725"/>
            <a:ext cx="1152525" cy="457200"/>
          </a:xfrm>
          <a:prstGeom prst="rightArrow">
            <a:avLst>
              <a:gd name="adj1" fmla="val 50000"/>
              <a:gd name="adj2" fmla="val 70828"/>
            </a:avLst>
          </a:prstGeom>
          <a:solidFill>
            <a:srgbClr val="66FF33"/>
          </a:solidFill>
          <a:ln w="9525">
            <a:solidFill>
              <a:schemeClr val="bg2"/>
            </a:solidFill>
            <a:miter lim="800000"/>
            <a:headEnd type="none" w="sm" len="sm"/>
            <a:tailEnd type="none" w="sm" len="sm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>
            <a:lvl1pPr marL="628650" indent="-628650" eaLnBrk="0" hangingPunct="0">
              <a:lnSpc>
                <a:spcPct val="95000"/>
              </a:lnSpc>
              <a:spcBef>
                <a:spcPct val="75000"/>
              </a:spcBef>
              <a:buClr>
                <a:schemeClr val="accent1"/>
              </a:buClr>
              <a:buSzPct val="110000"/>
              <a:buFont typeface="Wingdings" pitchFamily="2" charset="2"/>
              <a:buChar char="§"/>
              <a:defRPr sz="2400">
                <a:solidFill>
                  <a:srgbClr val="000000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40000"/>
              </a:spcBef>
              <a:buClr>
                <a:srgbClr val="917B69"/>
              </a:buClr>
              <a:buFont typeface="Arial" pitchFamily="34" charset="0"/>
              <a:buChar char="•"/>
              <a:defRPr sz="2000">
                <a:solidFill>
                  <a:srgbClr val="000000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30000"/>
              </a:spcBef>
              <a:buClr>
                <a:schemeClr val="tx1"/>
              </a:buClr>
              <a:buFont typeface="Arial" pitchFamily="34" charset="0"/>
              <a:buChar char="-"/>
              <a:defRPr>
                <a:solidFill>
                  <a:srgbClr val="000000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40000"/>
              </a:spcBef>
              <a:spcAft>
                <a:spcPct val="20000"/>
              </a:spcAft>
              <a:buClr>
                <a:schemeClr val="tx1"/>
              </a:buClr>
              <a:buSzPct val="55000"/>
              <a:buFont typeface="Monotype Sorts"/>
              <a:buNone/>
            </a:pPr>
            <a:endParaRPr lang="en-US" altLang="en-US" sz="3600" b="1">
              <a:solidFill>
                <a:schemeClr val="tx1"/>
              </a:solidFill>
            </a:endParaRPr>
          </a:p>
        </p:txBody>
      </p:sp>
      <p:pic>
        <p:nvPicPr>
          <p:cNvPr id="23557" name="Picture 5" descr="AG00013_"/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2538" y="1752601"/>
            <a:ext cx="1524000" cy="143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58" name="AutoShape 6"/>
          <p:cNvSpPr>
            <a:spLocks noChangeArrowheads="1"/>
          </p:cNvSpPr>
          <p:nvPr/>
        </p:nvSpPr>
        <p:spPr bwMode="auto">
          <a:xfrm>
            <a:off x="4165600" y="2286000"/>
            <a:ext cx="1150938" cy="457200"/>
          </a:xfrm>
          <a:prstGeom prst="rightArrow">
            <a:avLst>
              <a:gd name="adj1" fmla="val 50000"/>
              <a:gd name="adj2" fmla="val 70836"/>
            </a:avLst>
          </a:prstGeom>
          <a:solidFill>
            <a:schemeClr val="tx2"/>
          </a:solidFill>
          <a:ln w="9525">
            <a:solidFill>
              <a:srgbClr val="000000"/>
            </a:solidFill>
            <a:miter lim="800000"/>
            <a:headEnd type="none" w="sm" len="sm"/>
            <a:tailEnd type="none" w="sm" len="sm"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>
            <a:lvl1pPr marL="628650" indent="-628650" eaLnBrk="0" hangingPunct="0">
              <a:lnSpc>
                <a:spcPct val="95000"/>
              </a:lnSpc>
              <a:spcBef>
                <a:spcPct val="75000"/>
              </a:spcBef>
              <a:buClr>
                <a:schemeClr val="accent1"/>
              </a:buClr>
              <a:buSzPct val="110000"/>
              <a:buFont typeface="Wingdings" pitchFamily="2" charset="2"/>
              <a:buChar char="§"/>
              <a:defRPr sz="2400">
                <a:solidFill>
                  <a:srgbClr val="000000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40000"/>
              </a:spcBef>
              <a:buClr>
                <a:srgbClr val="917B69"/>
              </a:buClr>
              <a:buFont typeface="Arial" pitchFamily="34" charset="0"/>
              <a:buChar char="•"/>
              <a:defRPr sz="2000">
                <a:solidFill>
                  <a:srgbClr val="000000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30000"/>
              </a:spcBef>
              <a:buClr>
                <a:schemeClr val="tx1"/>
              </a:buClr>
              <a:buFont typeface="Arial" pitchFamily="34" charset="0"/>
              <a:buChar char="-"/>
              <a:defRPr>
                <a:solidFill>
                  <a:srgbClr val="000000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40000"/>
              </a:spcBef>
              <a:spcAft>
                <a:spcPct val="20000"/>
              </a:spcAft>
              <a:buClr>
                <a:schemeClr val="tx1"/>
              </a:buClr>
              <a:buSzPct val="55000"/>
              <a:buFont typeface="Monotype Sorts"/>
              <a:buNone/>
            </a:pPr>
            <a:endParaRPr lang="en-US" altLang="en-US" sz="3600" b="1">
              <a:solidFill>
                <a:schemeClr val="tx1"/>
              </a:solidFill>
            </a:endParaRPr>
          </a:p>
        </p:txBody>
      </p:sp>
      <p:pic>
        <p:nvPicPr>
          <p:cNvPr id="23559" name="Picture 7" descr="BD06527_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6800" y="1905000"/>
            <a:ext cx="1601788" cy="1155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60" name="Text Box 8"/>
          <p:cNvSpPr txBox="1">
            <a:spLocks noChangeArrowheads="1"/>
          </p:cNvSpPr>
          <p:nvPr/>
        </p:nvSpPr>
        <p:spPr bwMode="auto">
          <a:xfrm>
            <a:off x="1930400" y="3200401"/>
            <a:ext cx="2844800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5000"/>
              </a:lnSpc>
              <a:spcBef>
                <a:spcPct val="75000"/>
              </a:spcBef>
              <a:buClr>
                <a:schemeClr val="accent1"/>
              </a:buClr>
              <a:buSzPct val="110000"/>
              <a:buFont typeface="Wingdings" pitchFamily="2" charset="2"/>
              <a:buChar char="§"/>
              <a:defRPr sz="2400">
                <a:solidFill>
                  <a:srgbClr val="000000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40000"/>
              </a:spcBef>
              <a:buClr>
                <a:srgbClr val="917B69"/>
              </a:buClr>
              <a:buFont typeface="Arial" pitchFamily="34" charset="0"/>
              <a:buChar char="•"/>
              <a:defRPr sz="2000">
                <a:solidFill>
                  <a:srgbClr val="000000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30000"/>
              </a:spcBef>
              <a:buClr>
                <a:schemeClr val="tx1"/>
              </a:buClr>
              <a:buFont typeface="Arial" pitchFamily="34" charset="0"/>
              <a:buChar char="-"/>
              <a:defRPr>
                <a:solidFill>
                  <a:srgbClr val="000000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spcAft>
                <a:spcPct val="20000"/>
              </a:spcAft>
              <a:buClr>
                <a:schemeClr val="tx1"/>
              </a:buClr>
              <a:buSzPct val="55000"/>
              <a:buFont typeface="Monotype Sorts"/>
              <a:buNone/>
            </a:pPr>
            <a:r>
              <a:rPr lang="ru-RU" altLang="en-US" sz="2000" b="1" dirty="0">
                <a:solidFill>
                  <a:schemeClr val="tx1"/>
                </a:solidFill>
              </a:rPr>
              <a:t>Осмотр пациента, </a:t>
            </a:r>
            <a:br>
              <a:rPr lang="ru-RU" altLang="en-US" sz="2000" b="1" dirty="0">
                <a:solidFill>
                  <a:schemeClr val="tx1"/>
                </a:solidFill>
              </a:rPr>
            </a:br>
            <a:r>
              <a:rPr lang="ru-RU" altLang="en-US" sz="2000" b="1" dirty="0">
                <a:solidFill>
                  <a:schemeClr val="tx1"/>
                </a:solidFill>
              </a:rPr>
              <a:t>сбор информации</a:t>
            </a:r>
          </a:p>
        </p:txBody>
      </p:sp>
      <p:sp>
        <p:nvSpPr>
          <p:cNvPr id="23561" name="Text Box 9"/>
          <p:cNvSpPr txBox="1">
            <a:spLocks noChangeArrowheads="1"/>
          </p:cNvSpPr>
          <p:nvPr/>
        </p:nvSpPr>
        <p:spPr bwMode="auto">
          <a:xfrm>
            <a:off x="5113338" y="3352801"/>
            <a:ext cx="2844800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5000"/>
              </a:lnSpc>
              <a:spcBef>
                <a:spcPct val="75000"/>
              </a:spcBef>
              <a:buClr>
                <a:schemeClr val="accent1"/>
              </a:buClr>
              <a:buSzPct val="110000"/>
              <a:buFont typeface="Wingdings" pitchFamily="2" charset="2"/>
              <a:buChar char="§"/>
              <a:defRPr sz="2400">
                <a:solidFill>
                  <a:srgbClr val="000000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40000"/>
              </a:spcBef>
              <a:buClr>
                <a:srgbClr val="917B69"/>
              </a:buClr>
              <a:buFont typeface="Arial" pitchFamily="34" charset="0"/>
              <a:buChar char="•"/>
              <a:defRPr sz="2000">
                <a:solidFill>
                  <a:srgbClr val="000000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30000"/>
              </a:spcBef>
              <a:buClr>
                <a:schemeClr val="tx1"/>
              </a:buClr>
              <a:buFont typeface="Arial" pitchFamily="34" charset="0"/>
              <a:buChar char="-"/>
              <a:defRPr>
                <a:solidFill>
                  <a:srgbClr val="000000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spcAft>
                <a:spcPct val="20000"/>
              </a:spcAft>
              <a:buClr>
                <a:schemeClr val="tx1"/>
              </a:buClr>
              <a:buSzPct val="55000"/>
              <a:buFont typeface="Monotype Sorts"/>
              <a:buNone/>
            </a:pPr>
            <a:r>
              <a:rPr lang="ru-RU" altLang="en-US" sz="2000" b="1" dirty="0">
                <a:solidFill>
                  <a:schemeClr val="tx1"/>
                </a:solidFill>
              </a:rPr>
              <a:t>Заполнение первичной медицинской документации</a:t>
            </a:r>
          </a:p>
        </p:txBody>
      </p:sp>
      <p:sp>
        <p:nvSpPr>
          <p:cNvPr id="23562" name="Text Box 10"/>
          <p:cNvSpPr txBox="1">
            <a:spLocks noChangeArrowheads="1"/>
          </p:cNvSpPr>
          <p:nvPr/>
        </p:nvSpPr>
        <p:spPr bwMode="auto">
          <a:xfrm>
            <a:off x="8296276" y="3505200"/>
            <a:ext cx="2100263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5000"/>
              </a:lnSpc>
              <a:spcBef>
                <a:spcPct val="75000"/>
              </a:spcBef>
              <a:buClr>
                <a:schemeClr val="accent1"/>
              </a:buClr>
              <a:buSzPct val="110000"/>
              <a:buFont typeface="Wingdings" pitchFamily="2" charset="2"/>
              <a:buChar char="§"/>
              <a:defRPr sz="2400">
                <a:solidFill>
                  <a:srgbClr val="000000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40000"/>
              </a:spcBef>
              <a:buClr>
                <a:srgbClr val="917B69"/>
              </a:buClr>
              <a:buFont typeface="Arial" pitchFamily="34" charset="0"/>
              <a:buChar char="•"/>
              <a:defRPr sz="2000">
                <a:solidFill>
                  <a:srgbClr val="000000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30000"/>
              </a:spcBef>
              <a:buClr>
                <a:schemeClr val="tx1"/>
              </a:buClr>
              <a:buFont typeface="Arial" pitchFamily="34" charset="0"/>
              <a:buChar char="-"/>
              <a:defRPr>
                <a:solidFill>
                  <a:srgbClr val="000000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  <a:spcAft>
                <a:spcPct val="20000"/>
              </a:spcAft>
              <a:buClr>
                <a:schemeClr val="tx1"/>
              </a:buClr>
              <a:buSzPct val="55000"/>
              <a:buFont typeface="Monotype Sorts"/>
              <a:buNone/>
            </a:pPr>
            <a:r>
              <a:rPr lang="ru-RU" altLang="en-US" sz="2000" b="1" dirty="0">
                <a:solidFill>
                  <a:schemeClr val="tx1"/>
                </a:solidFill>
              </a:rPr>
              <a:t>Перенос данных </a:t>
            </a:r>
            <a:br>
              <a:rPr lang="ru-RU" altLang="en-US" sz="2000" b="1" dirty="0">
                <a:solidFill>
                  <a:schemeClr val="tx1"/>
                </a:solidFill>
              </a:rPr>
            </a:br>
            <a:r>
              <a:rPr lang="ru-RU" altLang="en-US" sz="2000" b="1" dirty="0">
                <a:solidFill>
                  <a:schemeClr val="tx1"/>
                </a:solidFill>
              </a:rPr>
              <a:t>в</a:t>
            </a:r>
            <a:r>
              <a:rPr lang="en-US" altLang="en-US" sz="2000" b="1" dirty="0">
                <a:solidFill>
                  <a:schemeClr val="tx1"/>
                </a:solidFill>
              </a:rPr>
              <a:t> CRF</a:t>
            </a:r>
            <a:endParaRPr lang="ru-RU" altLang="en-US" sz="2000" b="1" dirty="0">
              <a:solidFill>
                <a:schemeClr val="tx1"/>
              </a:solidFill>
            </a:endParaRPr>
          </a:p>
        </p:txBody>
      </p:sp>
      <p:sp>
        <p:nvSpPr>
          <p:cNvPr id="23563" name="Rectangle 11"/>
          <p:cNvSpPr>
            <a:spLocks noChangeArrowheads="1"/>
          </p:cNvSpPr>
          <p:nvPr/>
        </p:nvSpPr>
        <p:spPr bwMode="auto">
          <a:xfrm>
            <a:off x="2000250" y="4941888"/>
            <a:ext cx="8305800" cy="1282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lnSpc>
                <a:spcPct val="95000"/>
              </a:lnSpc>
              <a:spcBef>
                <a:spcPct val="75000"/>
              </a:spcBef>
              <a:buClr>
                <a:schemeClr val="accent1"/>
              </a:buClr>
              <a:buSzPct val="110000"/>
              <a:buFont typeface="Wingdings" pitchFamily="2" charset="2"/>
              <a:buChar char="§"/>
              <a:defRPr sz="2400">
                <a:solidFill>
                  <a:srgbClr val="000000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ct val="95000"/>
              </a:lnSpc>
              <a:spcBef>
                <a:spcPct val="40000"/>
              </a:spcBef>
              <a:buClr>
                <a:srgbClr val="917B69"/>
              </a:buClr>
              <a:buFont typeface="Arial" pitchFamily="34" charset="0"/>
              <a:buChar char="•"/>
              <a:defRPr sz="2000">
                <a:solidFill>
                  <a:srgbClr val="000000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ct val="95000"/>
              </a:lnSpc>
              <a:spcBef>
                <a:spcPct val="30000"/>
              </a:spcBef>
              <a:buClr>
                <a:schemeClr val="tx1"/>
              </a:buClr>
              <a:buFont typeface="Arial" pitchFamily="34" charset="0"/>
              <a:buChar char="-"/>
              <a:defRPr>
                <a:solidFill>
                  <a:srgbClr val="000000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ct val="95000"/>
              </a:lnSpc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 sz="1600">
                <a:solidFill>
                  <a:srgbClr val="000000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20000"/>
              </a:spcBef>
              <a:buClr>
                <a:schemeClr val="tx1"/>
              </a:buClr>
              <a:buSzPct val="75000"/>
              <a:buFont typeface="Wingdings" pitchFamily="2" charset="2"/>
              <a:buChar char="l"/>
            </a:pPr>
            <a:r>
              <a:rPr lang="en-US" altLang="en-US" sz="2800" b="1" dirty="0">
                <a:solidFill>
                  <a:schemeClr val="tx1"/>
                </a:solidFill>
              </a:rPr>
              <a:t>Source data</a:t>
            </a:r>
            <a:r>
              <a:rPr lang="en-US" altLang="en-US" sz="2800" dirty="0">
                <a:solidFill>
                  <a:schemeClr val="tx1"/>
                </a:solidFill>
              </a:rPr>
              <a:t> = </a:t>
            </a:r>
            <a:r>
              <a:rPr lang="ru-RU" altLang="en-US" sz="2800" dirty="0">
                <a:solidFill>
                  <a:schemeClr val="tx1"/>
                </a:solidFill>
              </a:rPr>
              <a:t>исходные / первичные данные</a:t>
            </a:r>
          </a:p>
          <a:p>
            <a:pPr eaLnBrk="1" hangingPunct="1">
              <a:lnSpc>
                <a:spcPct val="100000"/>
              </a:lnSpc>
              <a:spcBef>
                <a:spcPct val="20000"/>
              </a:spcBef>
              <a:buClr>
                <a:schemeClr val="tx1"/>
              </a:buClr>
              <a:buSzPct val="75000"/>
              <a:buFont typeface="Wingdings" pitchFamily="2" charset="2"/>
              <a:buChar char="l"/>
            </a:pPr>
            <a:r>
              <a:rPr lang="en-US" altLang="en-US" sz="2800" b="1" dirty="0">
                <a:solidFill>
                  <a:schemeClr val="tx1"/>
                </a:solidFill>
              </a:rPr>
              <a:t>Source documents</a:t>
            </a:r>
            <a:r>
              <a:rPr lang="ru-RU" altLang="en-US" sz="2800" dirty="0">
                <a:solidFill>
                  <a:schemeClr val="tx1"/>
                </a:solidFill>
              </a:rPr>
              <a:t> = первая запись</a:t>
            </a:r>
            <a:r>
              <a:rPr lang="en-US" altLang="en-US" sz="2800" dirty="0">
                <a:solidFill>
                  <a:schemeClr val="tx1"/>
                </a:solidFill>
              </a:rPr>
              <a:t>/</a:t>
            </a:r>
            <a:r>
              <a:rPr lang="ru-RU" altLang="en-US" sz="2800" dirty="0">
                <a:solidFill>
                  <a:schemeClr val="tx1"/>
                </a:solidFill>
              </a:rPr>
              <a:t> регистрация</a:t>
            </a:r>
            <a:endParaRPr lang="en-US" altLang="en-US" sz="28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538116" y="6403150"/>
            <a:ext cx="400035" cy="24703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 baseline="0">
                <a:solidFill>
                  <a:srgbClr val="7F7F7F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endParaRPr lang="en-US" noProof="0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96FB059F-C8E2-40B9-9425-EEB6D9A7771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/>
          </p:cNvSpPr>
          <p:nvPr>
            <p:ph type="title"/>
          </p:nvPr>
        </p:nvSpPr>
        <p:spPr>
          <a:xfrm>
            <a:off x="333555" y="204024"/>
            <a:ext cx="7772400" cy="619125"/>
          </a:xfrm>
        </p:spPr>
        <p:txBody>
          <a:bodyPr/>
          <a:lstStyle/>
          <a:p>
            <a:pPr eaLnBrk="1" hangingPunct="1"/>
            <a:r>
              <a:rPr lang="ru-RU" altLang="en-US" sz="3600" dirty="0">
                <a:solidFill>
                  <a:schemeClr val="bg1">
                    <a:lumMod val="90000"/>
                    <a:lumOff val="10000"/>
                  </a:schemeClr>
                </a:solidFill>
                <a:latin typeface="+mj-lt"/>
              </a:rPr>
              <a:t>Первичная документация</a:t>
            </a:r>
            <a:endParaRPr lang="en-US" altLang="en-US" sz="3600" dirty="0">
              <a:solidFill>
                <a:schemeClr val="bg1">
                  <a:lumMod val="90000"/>
                  <a:lumOff val="10000"/>
                </a:schemeClr>
              </a:solidFill>
              <a:latin typeface="+mj-lt"/>
            </a:endParaRPr>
          </a:p>
        </p:txBody>
      </p:sp>
      <p:sp>
        <p:nvSpPr>
          <p:cNvPr id="24579" name="Rectangle 3"/>
          <p:cNvSpPr>
            <a:spLocks noGrp="1"/>
          </p:cNvSpPr>
          <p:nvPr>
            <p:ph type="body" idx="4294967295"/>
          </p:nvPr>
        </p:nvSpPr>
        <p:spPr>
          <a:xfrm>
            <a:off x="1901826" y="1462088"/>
            <a:ext cx="8766175" cy="4805362"/>
          </a:xfrm>
        </p:spPr>
        <p:txBody>
          <a:bodyPr>
            <a:normAutofit lnSpcReduction="10000"/>
          </a:bodyPr>
          <a:lstStyle/>
          <a:p>
            <a:pPr>
              <a:spcBef>
                <a:spcPct val="40000"/>
              </a:spcBef>
            </a:pPr>
            <a:r>
              <a:rPr lang="en-US" altLang="en-US" sz="2000" b="1" dirty="0"/>
              <a:t>Attributable</a:t>
            </a:r>
            <a:r>
              <a:rPr lang="ru-RU" altLang="en-US" sz="2000" b="1" dirty="0"/>
              <a:t> </a:t>
            </a:r>
            <a:r>
              <a:rPr lang="en-US" altLang="en-US" sz="2000" b="1" dirty="0"/>
              <a:t>– </a:t>
            </a:r>
            <a:r>
              <a:rPr lang="ru-RU" altLang="en-US" sz="2000" dirty="0"/>
              <a:t>кто сделал запись</a:t>
            </a:r>
            <a:endParaRPr lang="en-US" altLang="en-US" sz="2000" dirty="0"/>
          </a:p>
          <a:p>
            <a:pPr marL="0" lvl="2" indent="261938">
              <a:lnSpc>
                <a:spcPct val="150000"/>
              </a:lnSpc>
              <a:spcBef>
                <a:spcPct val="4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</a:pPr>
            <a:r>
              <a:rPr lang="en-US" altLang="en-US" b="1" dirty="0"/>
              <a:t>Legible</a:t>
            </a:r>
            <a:r>
              <a:rPr lang="ru-RU" altLang="en-US" b="1" dirty="0"/>
              <a:t> – </a:t>
            </a:r>
            <a:r>
              <a:rPr lang="ru-RU" altLang="en-US" dirty="0"/>
              <a:t>разборчиво, перманентно</a:t>
            </a:r>
            <a:endParaRPr lang="en-US" altLang="en-US" dirty="0"/>
          </a:p>
          <a:p>
            <a:pPr marL="261938" lvl="2" indent="-261938">
              <a:lnSpc>
                <a:spcPct val="150000"/>
              </a:lnSpc>
              <a:spcBef>
                <a:spcPct val="4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</a:pPr>
            <a:r>
              <a:rPr lang="en-US" altLang="en-US" b="1" dirty="0"/>
              <a:t> Contemporaneous</a:t>
            </a:r>
            <a:r>
              <a:rPr lang="ru-RU" altLang="en-US" b="1" dirty="0"/>
              <a:t> – </a:t>
            </a:r>
            <a:r>
              <a:rPr lang="ru-RU" altLang="en-US" dirty="0"/>
              <a:t>сделана в   момент наблюдения</a:t>
            </a:r>
            <a:endParaRPr lang="en-US" altLang="en-US" dirty="0"/>
          </a:p>
          <a:p>
            <a:pPr marL="261938" lvl="2" indent="-261938">
              <a:lnSpc>
                <a:spcPct val="150000"/>
              </a:lnSpc>
              <a:spcBef>
                <a:spcPct val="4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</a:pPr>
            <a:r>
              <a:rPr lang="en-US" altLang="en-US" b="1" dirty="0"/>
              <a:t> Original</a:t>
            </a:r>
            <a:r>
              <a:rPr lang="ru-RU" altLang="en-US" b="1" dirty="0"/>
              <a:t> – </a:t>
            </a:r>
            <a:r>
              <a:rPr lang="ru-RU" altLang="en-US" dirty="0"/>
              <a:t>первая запись наблюдения</a:t>
            </a:r>
            <a:endParaRPr lang="en-US" altLang="en-US" dirty="0"/>
          </a:p>
          <a:p>
            <a:pPr marL="261938" lvl="2" indent="-261938">
              <a:lnSpc>
                <a:spcPct val="150000"/>
              </a:lnSpc>
              <a:spcBef>
                <a:spcPct val="4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</a:pPr>
            <a:r>
              <a:rPr lang="en-US" altLang="en-US" b="1" dirty="0"/>
              <a:t> Accurate</a:t>
            </a:r>
            <a:r>
              <a:rPr lang="ru-RU" altLang="en-US" b="1" dirty="0"/>
              <a:t> - </a:t>
            </a:r>
            <a:r>
              <a:rPr lang="ru-RU" altLang="en-US" dirty="0"/>
              <a:t>точно отражает сделанное наблюдение</a:t>
            </a:r>
          </a:p>
          <a:p>
            <a:pPr marL="261938" lvl="2" indent="-261938">
              <a:lnSpc>
                <a:spcPct val="150000"/>
              </a:lnSpc>
              <a:spcBef>
                <a:spcPct val="40000"/>
              </a:spcBef>
              <a:buClr>
                <a:schemeClr val="folHlink"/>
              </a:buClr>
              <a:buFont typeface="Wingdings" panose="05000000000000000000" pitchFamily="2" charset="2"/>
              <a:buChar char="§"/>
            </a:pPr>
            <a:r>
              <a:rPr lang="en-US" altLang="en-US" b="1" dirty="0" err="1"/>
              <a:t>Trackable</a:t>
            </a:r>
            <a:r>
              <a:rPr lang="en-US" altLang="en-US" b="1" dirty="0"/>
              <a:t>:</a:t>
            </a:r>
            <a:r>
              <a:rPr lang="ru-RU" altLang="en-US" dirty="0"/>
              <a:t> изменения отслеживаются  </a:t>
            </a:r>
            <a:r>
              <a:rPr lang="ru-RU" altLang="en-US" i="1" dirty="0"/>
              <a:t>Исправления не должны скрывать первую запись, подпись, дата исправления, пояснения</a:t>
            </a:r>
            <a:endParaRPr lang="en-US" altLang="en-US" i="1" dirty="0"/>
          </a:p>
          <a:p>
            <a:pPr lvl="2" eaLnBrk="1" hangingPunct="1">
              <a:lnSpc>
                <a:spcPct val="150000"/>
              </a:lnSpc>
              <a:spcBef>
                <a:spcPct val="40000"/>
              </a:spcBef>
              <a:buClr>
                <a:schemeClr val="folHlink"/>
              </a:buClr>
              <a:buFont typeface="Wingdings" pitchFamily="2" charset="2"/>
              <a:buChar char="è"/>
            </a:pPr>
            <a:endParaRPr lang="ru-RU" altLang="en-US" dirty="0"/>
          </a:p>
          <a:p>
            <a:pPr algn="just" eaLnBrk="1" hangingPunct="1">
              <a:spcBef>
                <a:spcPct val="40000"/>
              </a:spcBef>
              <a:buFont typeface="Wingdings" pitchFamily="2" charset="2"/>
              <a:buNone/>
            </a:pPr>
            <a:r>
              <a:rPr lang="ru-RU" altLang="en-US" dirty="0"/>
              <a:t>   </a:t>
            </a:r>
            <a:endParaRPr lang="en-US" altLang="en-US" dirty="0"/>
          </a:p>
          <a:p>
            <a:pPr eaLnBrk="1" hangingPunct="1"/>
            <a:endParaRPr lang="en-US" altLang="en-US" dirty="0"/>
          </a:p>
        </p:txBody>
      </p:sp>
      <p:pic>
        <p:nvPicPr>
          <p:cNvPr id="24580" name="Picture 4" descr="MPj04385850000[1]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7176" y="1262743"/>
            <a:ext cx="2000824" cy="1364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66AA3EA-0569-43EF-BBA3-83FDB109D582}" type="slidenum">
              <a:rPr lang="en-US" noProof="0" smtClean="0"/>
              <a:pPr/>
              <a:t>38</a:t>
            </a:fld>
            <a:endParaRPr lang="en-US" noProof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C9601C4-BA96-4D7E-B257-DA41F68363C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altLang="en-US" sz="3600" dirty="0">
                <a:solidFill>
                  <a:schemeClr val="bg1">
                    <a:lumMod val="90000"/>
                    <a:lumOff val="10000"/>
                  </a:schemeClr>
                </a:solidFill>
                <a:latin typeface="+mj-lt"/>
              </a:rPr>
              <a:t>Первичные документы</a:t>
            </a:r>
            <a:endParaRPr lang="en-US" altLang="en-US" sz="3600" dirty="0">
              <a:solidFill>
                <a:schemeClr val="bg1">
                  <a:lumMod val="90000"/>
                  <a:lumOff val="10000"/>
                </a:schemeClr>
              </a:solidFill>
              <a:latin typeface="+mj-lt"/>
            </a:endParaRPr>
          </a:p>
        </p:txBody>
      </p:sp>
      <p:sp>
        <p:nvSpPr>
          <p:cNvPr id="25603" name="Rectangle 3"/>
          <p:cNvSpPr>
            <a:spLocks noGrp="1"/>
          </p:cNvSpPr>
          <p:nvPr>
            <p:ph type="body" idx="4294967295"/>
          </p:nvPr>
        </p:nvSpPr>
        <p:spPr>
          <a:xfrm>
            <a:off x="465826" y="1393825"/>
            <a:ext cx="9665145" cy="4616450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ru-RU" altLang="en-US" sz="2200" dirty="0"/>
              <a:t>Медицинская документация (история болезни</a:t>
            </a:r>
            <a:r>
              <a:rPr lang="en-US" altLang="en-US" sz="2200" dirty="0"/>
              <a:t>/ </a:t>
            </a:r>
            <a:r>
              <a:rPr lang="ru-RU" altLang="en-US" sz="2200" dirty="0"/>
              <a:t>амбулаторная карта), содержащая доказательства наличия критериев включения в протокол</a:t>
            </a:r>
          </a:p>
          <a:p>
            <a:pPr eaLnBrk="1" hangingPunct="1">
              <a:lnSpc>
                <a:spcPct val="90000"/>
              </a:lnSpc>
            </a:pPr>
            <a:r>
              <a:rPr lang="ru-RU" altLang="en-US" sz="2200" dirty="0"/>
              <a:t>Результаты лабораторных исследований</a:t>
            </a:r>
          </a:p>
          <a:p>
            <a:pPr algn="just" eaLnBrk="1" hangingPunct="1">
              <a:lnSpc>
                <a:spcPct val="90000"/>
              </a:lnSpc>
            </a:pPr>
            <a:r>
              <a:rPr lang="ru-RU" altLang="en-US" sz="2200" dirty="0"/>
              <a:t>Результаты инструментальных обследований (ЭКГ пленки,  рентгеновские снимки, распечатки диагностических приборов) </a:t>
            </a:r>
          </a:p>
          <a:p>
            <a:pPr eaLnBrk="1" hangingPunct="1">
              <a:lnSpc>
                <a:spcPct val="90000"/>
              </a:lnSpc>
            </a:pPr>
            <a:r>
              <a:rPr lang="ru-RU" altLang="en-US" sz="2200" dirty="0"/>
              <a:t>Заключения специалистов (консультантов)</a:t>
            </a:r>
          </a:p>
          <a:p>
            <a:pPr eaLnBrk="1" hangingPunct="1">
              <a:lnSpc>
                <a:spcPct val="90000"/>
              </a:lnSpc>
            </a:pPr>
            <a:r>
              <a:rPr lang="ru-RU" altLang="en-US" sz="2200" dirty="0"/>
              <a:t>Информированное согласие (письменная форма)</a:t>
            </a:r>
          </a:p>
          <a:p>
            <a:pPr eaLnBrk="1" hangingPunct="1">
              <a:lnSpc>
                <a:spcPct val="90000"/>
              </a:lnSpc>
            </a:pPr>
            <a:r>
              <a:rPr lang="ru-RU" altLang="en-US" sz="2200" dirty="0"/>
              <a:t>Дневники пациента, Опросники</a:t>
            </a:r>
          </a:p>
          <a:p>
            <a:pPr eaLnBrk="1" hangingPunct="1">
              <a:lnSpc>
                <a:spcPct val="90000"/>
              </a:lnSpc>
            </a:pPr>
            <a:r>
              <a:rPr lang="ru-RU" altLang="en-US" sz="2200" dirty="0"/>
              <a:t>Рабочие формы для первичной регистрации данных</a:t>
            </a:r>
            <a:endParaRPr lang="en-US" altLang="en-US" sz="2200" dirty="0"/>
          </a:p>
          <a:p>
            <a:pPr eaLnBrk="1" hangingPunct="1">
              <a:lnSpc>
                <a:spcPct val="90000"/>
              </a:lnSpc>
              <a:spcBef>
                <a:spcPct val="40000"/>
              </a:spcBef>
            </a:pPr>
            <a:endParaRPr lang="en-US" altLang="en-US" sz="2000" b="1" dirty="0">
              <a:cs typeface="Arial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39A6B95-5A22-433E-9324-62AE54FC179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2024034" y="2143116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Переходя от общей постановки цели и задач научной работы к расчетам, необходимо прежде всего сформулировать </a:t>
            </a:r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статистическую гипотезу</a:t>
            </a:r>
            <a:br>
              <a:rPr lang="ru-RU" sz="2400" b="1" dirty="0">
                <a:latin typeface="Times New Roman" pitchFamily="18" charset="0"/>
                <a:cs typeface="Times New Roman" pitchFamily="18" charset="0"/>
              </a:rPr>
            </a:br>
            <a:endParaRPr lang="ru-RU" sz="2400" dirty="0"/>
          </a:p>
        </p:txBody>
      </p: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2309786" y="3500438"/>
            <a:ext cx="3714776" cy="785818"/>
          </a:xfrm>
        </p:spPr>
        <p:txBody>
          <a:bodyPr>
            <a:normAutofit fontScale="92500" lnSpcReduction="20000"/>
          </a:bodyPr>
          <a:lstStyle/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2800" dirty="0">
                <a:latin typeface="Times New Roman" pitchFamily="18" charset="0"/>
                <a:cs typeface="Times New Roman" pitchFamily="18" charset="0"/>
              </a:rPr>
              <a:t>Нулевая гипотеза</a:t>
            </a:r>
          </a:p>
          <a:p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2"/>
          </p:nvPr>
        </p:nvSpPr>
        <p:spPr>
          <a:xfrm>
            <a:off x="2095472" y="3714752"/>
            <a:ext cx="4040188" cy="2857520"/>
          </a:xfrm>
        </p:spPr>
        <p:txBody>
          <a:bodyPr>
            <a:normAutofit/>
          </a:bodyPr>
          <a:lstStyle/>
          <a:p>
            <a:pPr>
              <a:buNone/>
            </a:pP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Обозначается - </a:t>
            </a:r>
            <a:r>
              <a:rPr lang="ru-RU" sz="2000" dirty="0" err="1">
                <a:latin typeface="Times New Roman" pitchFamily="18" charset="0"/>
                <a:cs typeface="Times New Roman" pitchFamily="18" charset="0"/>
              </a:rPr>
              <a:t>Ho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 Предполагает отсутствие различий (корреляции, связи) между сравниваемыми выборками.</a:t>
            </a:r>
          </a:p>
          <a:p>
            <a:pPr>
              <a:buNone/>
            </a:pP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3"/>
          </p:nvPr>
        </p:nvSpPr>
        <p:spPr>
          <a:xfrm>
            <a:off x="6626226" y="3214686"/>
            <a:ext cx="4041775" cy="639762"/>
          </a:xfrm>
        </p:spPr>
        <p:txBody>
          <a:bodyPr/>
          <a:lstStyle/>
          <a:p>
            <a:r>
              <a:rPr lang="ru-RU" dirty="0">
                <a:latin typeface="Times New Roman" pitchFamily="18" charset="0"/>
                <a:cs typeface="Times New Roman" pitchFamily="18" charset="0"/>
              </a:rPr>
              <a:t>Альтернативная гипотеза</a:t>
            </a:r>
            <a:endParaRPr lang="ru-RU" dirty="0"/>
          </a:p>
        </p:txBody>
      </p:sp>
      <p:sp>
        <p:nvSpPr>
          <p:cNvPr id="9" name="Содержимое 8"/>
          <p:cNvSpPr>
            <a:spLocks noGrp="1"/>
          </p:cNvSpPr>
          <p:nvPr>
            <p:ph sz="quarter" idx="4"/>
          </p:nvPr>
        </p:nvSpPr>
        <p:spPr>
          <a:xfrm>
            <a:off x="6381753" y="4071942"/>
            <a:ext cx="4041775" cy="2071702"/>
          </a:xfrm>
        </p:spPr>
        <p:txBody>
          <a:bodyPr>
            <a:normAutofit/>
          </a:bodyPr>
          <a:lstStyle/>
          <a:p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Обозначается - На</a:t>
            </a:r>
          </a:p>
          <a:p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Является отрицанием нулевой гипотезы</a:t>
            </a:r>
          </a:p>
          <a:p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Часто означает наличие связи между группами.</a:t>
            </a:r>
          </a:p>
        </p:txBody>
      </p:sp>
      <p:sp>
        <p:nvSpPr>
          <p:cNvPr id="10" name="Стрелка вправо 9"/>
          <p:cNvSpPr/>
          <p:nvPr/>
        </p:nvSpPr>
        <p:spPr>
          <a:xfrm rot="2535313">
            <a:off x="7656778" y="3017976"/>
            <a:ext cx="642942" cy="4286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Стрелка вправо 10"/>
          <p:cNvSpPr/>
          <p:nvPr/>
        </p:nvSpPr>
        <p:spPr>
          <a:xfrm rot="8285878">
            <a:off x="3725097" y="3170523"/>
            <a:ext cx="674985" cy="43209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215660" y="214290"/>
            <a:ext cx="1045234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dirty="0">
                <a:latin typeface="+mj-lt"/>
                <a:cs typeface="Times New Roman" pitchFamily="18" charset="0"/>
              </a:rPr>
              <a:t>Формирование статистической гипотезы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ECBFA0A4-A579-40FA-8F5C-D59F0F24210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34684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7" name="Rectangle 3"/>
          <p:cNvSpPr>
            <a:spLocks noGrp="1"/>
          </p:cNvSpPr>
          <p:nvPr>
            <p:ph type="body" idx="4294967295"/>
          </p:nvPr>
        </p:nvSpPr>
        <p:spPr>
          <a:xfrm>
            <a:off x="526212" y="709974"/>
            <a:ext cx="10219427" cy="5610225"/>
          </a:xfrm>
        </p:spPr>
        <p:txBody>
          <a:bodyPr/>
          <a:lstStyle/>
          <a:p>
            <a:pPr eaLnBrk="1" hangingPunct="1">
              <a:lnSpc>
                <a:spcPct val="90000"/>
              </a:lnSpc>
              <a:spcBef>
                <a:spcPct val="50000"/>
              </a:spcBef>
            </a:pPr>
            <a:r>
              <a:rPr lang="ru-RU" altLang="en-US" b="1" dirty="0"/>
              <a:t>Первичная документация часто: </a:t>
            </a:r>
            <a:endParaRPr lang="en-GB" altLang="en-US" b="1" dirty="0"/>
          </a:p>
          <a:p>
            <a:pPr lvl="1">
              <a:lnSpc>
                <a:spcPct val="90000"/>
              </a:lnSpc>
              <a:spcBef>
                <a:spcPct val="50000"/>
              </a:spcBef>
            </a:pPr>
            <a:r>
              <a:rPr lang="ru-RU" altLang="en-US" dirty="0"/>
              <a:t>не доступна</a:t>
            </a:r>
            <a:endParaRPr lang="en-GB" altLang="en-US" dirty="0"/>
          </a:p>
          <a:p>
            <a:pPr lvl="1">
              <a:lnSpc>
                <a:spcPct val="90000"/>
              </a:lnSpc>
              <a:spcBef>
                <a:spcPct val="50000"/>
              </a:spcBef>
            </a:pPr>
            <a:r>
              <a:rPr lang="ru-RU" altLang="en-US" dirty="0"/>
              <a:t>не достаточно полная</a:t>
            </a:r>
            <a:endParaRPr lang="en-GB" altLang="en-US" dirty="0"/>
          </a:p>
          <a:p>
            <a:pPr lvl="1">
              <a:lnSpc>
                <a:spcPct val="90000"/>
              </a:lnSpc>
              <a:spcBef>
                <a:spcPct val="50000"/>
              </a:spcBef>
            </a:pPr>
            <a:r>
              <a:rPr lang="ru-RU" altLang="en-US" dirty="0"/>
              <a:t>потеряна</a:t>
            </a:r>
            <a:r>
              <a:rPr lang="en-GB" altLang="en-US" dirty="0"/>
              <a:t>, </a:t>
            </a:r>
            <a:r>
              <a:rPr lang="ru-RU" altLang="en-US" dirty="0"/>
              <a:t>выброшена</a:t>
            </a:r>
            <a:endParaRPr lang="en-GB" altLang="en-US" dirty="0"/>
          </a:p>
          <a:p>
            <a:pPr lvl="1">
              <a:lnSpc>
                <a:spcPct val="90000"/>
              </a:lnSpc>
              <a:spcBef>
                <a:spcPct val="50000"/>
              </a:spcBef>
            </a:pPr>
            <a:r>
              <a:rPr lang="ru-RU" altLang="en-US" dirty="0"/>
              <a:t>не соответствует информации в статданных</a:t>
            </a:r>
            <a:endParaRPr lang="en-GB" altLang="en-US" dirty="0"/>
          </a:p>
          <a:p>
            <a:pPr eaLnBrk="1" hangingPunct="1">
              <a:lnSpc>
                <a:spcPct val="90000"/>
              </a:lnSpc>
              <a:spcBef>
                <a:spcPct val="50000"/>
              </a:spcBef>
            </a:pPr>
            <a:r>
              <a:rPr lang="ru-RU" altLang="en-US" b="1" dirty="0"/>
              <a:t>Вся первичная документация должна быть доступна для: </a:t>
            </a:r>
            <a:endParaRPr lang="en-GB" altLang="en-US" b="1" dirty="0"/>
          </a:p>
          <a:p>
            <a:pPr lvl="1" algn="just">
              <a:lnSpc>
                <a:spcPct val="90000"/>
              </a:lnSpc>
              <a:spcBef>
                <a:spcPct val="50000"/>
              </a:spcBef>
            </a:pPr>
            <a:r>
              <a:rPr lang="ru-RU" altLang="en-US" dirty="0"/>
              <a:t>мониторирования  </a:t>
            </a:r>
            <a:endParaRPr lang="en-GB" altLang="en-US" dirty="0"/>
          </a:p>
          <a:p>
            <a:pPr lvl="1">
              <a:lnSpc>
                <a:spcPct val="90000"/>
              </a:lnSpc>
              <a:spcBef>
                <a:spcPct val="50000"/>
              </a:spcBef>
            </a:pPr>
            <a:r>
              <a:rPr lang="ru-RU" altLang="en-US" dirty="0"/>
              <a:t>инспекции органами здравоохранения</a:t>
            </a:r>
            <a:endParaRPr lang="en-GB" altLang="en-US" dirty="0"/>
          </a:p>
          <a:p>
            <a:pPr lvl="1">
              <a:lnSpc>
                <a:spcPct val="90000"/>
              </a:lnSpc>
              <a:spcBef>
                <a:spcPct val="50000"/>
              </a:spcBef>
            </a:pPr>
            <a:r>
              <a:rPr lang="ru-RU" altLang="en-US" dirty="0"/>
              <a:t>архивирования</a:t>
            </a:r>
            <a:endParaRPr lang="en-GB" altLang="en-US" dirty="0"/>
          </a:p>
          <a:p>
            <a:pPr eaLnBrk="1" hangingPunct="1"/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66AA3EA-0569-43EF-BBA3-83FDB109D582}" type="slidenum">
              <a:rPr lang="en-US" noProof="0" smtClean="0"/>
              <a:pPr/>
              <a:t>40</a:t>
            </a:fld>
            <a:endParaRPr lang="en-US" noProof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BE2F412-78A1-4513-9F45-C114A3B9BD6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/>
          </p:cNvSpPr>
          <p:nvPr>
            <p:ph type="title"/>
          </p:nvPr>
        </p:nvSpPr>
        <p:spPr>
          <a:xfrm>
            <a:off x="362309" y="84138"/>
            <a:ext cx="9991367" cy="1028700"/>
          </a:xfrm>
        </p:spPr>
        <p:txBody>
          <a:bodyPr/>
          <a:lstStyle/>
          <a:p>
            <a:pPr eaLnBrk="1" hangingPunct="1"/>
            <a:r>
              <a:rPr lang="ru-RU" altLang="en-US" sz="3200" dirty="0">
                <a:solidFill>
                  <a:schemeClr val="bg1">
                    <a:lumMod val="90000"/>
                    <a:lumOff val="10000"/>
                  </a:schemeClr>
                </a:solidFill>
                <a:latin typeface="+mj-lt"/>
              </a:rPr>
              <a:t>Обязанности исследователя в соответствии с правилами </a:t>
            </a:r>
            <a:r>
              <a:rPr lang="en-GB" altLang="en-US" sz="3200" dirty="0">
                <a:solidFill>
                  <a:schemeClr val="bg1">
                    <a:lumMod val="90000"/>
                    <a:lumOff val="10000"/>
                  </a:schemeClr>
                </a:solidFill>
                <a:latin typeface="+mj-lt"/>
              </a:rPr>
              <a:t>GCP</a:t>
            </a:r>
            <a:r>
              <a:rPr lang="en-GB" altLang="en-US" dirty="0">
                <a:solidFill>
                  <a:schemeClr val="bg1">
                    <a:lumMod val="90000"/>
                    <a:lumOff val="10000"/>
                  </a:schemeClr>
                </a:solidFill>
                <a:latin typeface="+mj-lt"/>
              </a:rPr>
              <a:t>	</a:t>
            </a:r>
            <a:endParaRPr lang="en-US" altLang="en-US" dirty="0">
              <a:solidFill>
                <a:schemeClr val="bg1">
                  <a:lumMod val="90000"/>
                  <a:lumOff val="10000"/>
                </a:schemeClr>
              </a:solidFill>
              <a:latin typeface="+mj-lt"/>
            </a:endParaRPr>
          </a:p>
        </p:txBody>
      </p:sp>
      <p:sp>
        <p:nvSpPr>
          <p:cNvPr id="28675" name="Rectangle 3"/>
          <p:cNvSpPr>
            <a:spLocks noGrp="1"/>
          </p:cNvSpPr>
          <p:nvPr>
            <p:ph type="body" idx="4294967295"/>
          </p:nvPr>
        </p:nvSpPr>
        <p:spPr>
          <a:xfrm>
            <a:off x="215659" y="1262290"/>
            <a:ext cx="10817525" cy="5008563"/>
          </a:xfrm>
        </p:spPr>
        <p:txBody>
          <a:bodyPr>
            <a:normAutofit/>
          </a:bodyPr>
          <a:lstStyle/>
          <a:p>
            <a:pPr algn="just" eaLnBrk="1" hangingPunct="1">
              <a:spcBef>
                <a:spcPct val="50000"/>
              </a:spcBef>
            </a:pPr>
            <a:r>
              <a:rPr lang="ru-RU" altLang="en-US" dirty="0"/>
              <a:t>Принять все возможные предусмотренные </a:t>
            </a:r>
            <a:r>
              <a:rPr lang="ru-RU" altLang="en-US" dirty="0">
                <a:solidFill>
                  <a:schemeClr val="hlink"/>
                </a:solidFill>
              </a:rPr>
              <a:t>законодательством меры предосторожности </a:t>
            </a:r>
            <a:r>
              <a:rPr lang="en-US" altLang="en-US" dirty="0">
                <a:solidFill>
                  <a:schemeClr val="folHlink"/>
                </a:solidFill>
              </a:rPr>
              <a:t> </a:t>
            </a:r>
            <a:r>
              <a:rPr lang="ru-RU" altLang="en-US" dirty="0"/>
              <a:t>для сохранения </a:t>
            </a:r>
            <a:r>
              <a:rPr lang="ru-RU" altLang="en-US" dirty="0">
                <a:solidFill>
                  <a:schemeClr val="hlink"/>
                </a:solidFill>
              </a:rPr>
              <a:t>конфиденциальности данных, идентифицирующих субъекта исследования </a:t>
            </a:r>
            <a:r>
              <a:rPr lang="ru-RU" altLang="en-US" dirty="0"/>
              <a:t>и информации, являющейся собственностью спонсора исследования</a:t>
            </a:r>
            <a:endParaRPr lang="en-US" altLang="en-US" dirty="0"/>
          </a:p>
          <a:p>
            <a:pPr algn="just" eaLnBrk="1" hangingPunct="1">
              <a:spcBef>
                <a:spcPct val="50000"/>
              </a:spcBef>
            </a:pPr>
            <a:r>
              <a:rPr lang="ru-RU" altLang="en-US" dirty="0"/>
              <a:t>Сохранять в целостности документы исследования</a:t>
            </a:r>
            <a:r>
              <a:rPr lang="en-US" altLang="en-US" dirty="0"/>
              <a:t>, </a:t>
            </a:r>
            <a:r>
              <a:rPr lang="ru-RU" altLang="en-US" dirty="0">
                <a:solidFill>
                  <a:schemeClr val="hlink"/>
                </a:solidFill>
              </a:rPr>
              <a:t>предотвращать </a:t>
            </a:r>
            <a:r>
              <a:rPr lang="ru-RU" altLang="en-US" dirty="0"/>
              <a:t>их</a:t>
            </a:r>
            <a:r>
              <a:rPr lang="en-US" altLang="en-US" dirty="0">
                <a:solidFill>
                  <a:schemeClr val="folHlink"/>
                </a:solidFill>
              </a:rPr>
              <a:t> </a:t>
            </a:r>
            <a:r>
              <a:rPr lang="ru-RU" altLang="en-US" dirty="0">
                <a:solidFill>
                  <a:schemeClr val="hlink"/>
                </a:solidFill>
              </a:rPr>
              <a:t>потерю</a:t>
            </a:r>
            <a:r>
              <a:rPr lang="en-US" altLang="en-US" dirty="0"/>
              <a:t> </a:t>
            </a:r>
            <a:r>
              <a:rPr lang="ru-RU" altLang="en-US" dirty="0"/>
              <a:t>или преждевременное </a:t>
            </a:r>
            <a:r>
              <a:rPr lang="ru-RU" altLang="en-US" dirty="0">
                <a:solidFill>
                  <a:schemeClr val="hlink"/>
                </a:solidFill>
              </a:rPr>
              <a:t>уничтожение</a:t>
            </a:r>
            <a:endParaRPr lang="en-US" altLang="en-US" dirty="0">
              <a:solidFill>
                <a:schemeClr val="hlink"/>
              </a:solidFill>
            </a:endParaRPr>
          </a:p>
          <a:p>
            <a:pPr algn="just" eaLnBrk="1" hangingPunct="1">
              <a:spcBef>
                <a:spcPct val="50000"/>
              </a:spcBef>
            </a:pPr>
            <a:r>
              <a:rPr lang="ru-RU" altLang="en-US" dirty="0"/>
              <a:t>Разрешать проведение</a:t>
            </a:r>
            <a:r>
              <a:rPr lang="en-US" altLang="en-US" dirty="0"/>
              <a:t> </a:t>
            </a:r>
            <a:r>
              <a:rPr lang="ru-RU" altLang="en-US" dirty="0">
                <a:solidFill>
                  <a:schemeClr val="hlink"/>
                </a:solidFill>
              </a:rPr>
              <a:t>мониторингов </a:t>
            </a:r>
            <a:r>
              <a:rPr lang="ru-RU" altLang="en-US" dirty="0"/>
              <a:t>органами здравоохранения</a:t>
            </a:r>
            <a:endParaRPr lang="en-US" altLang="en-US" dirty="0">
              <a:solidFill>
                <a:schemeClr val="hlink"/>
              </a:solidFill>
            </a:endParaRPr>
          </a:p>
          <a:p>
            <a:pPr eaLnBrk="1" hangingPunct="1"/>
            <a:endParaRPr lang="en-US" altLang="en-US" dirty="0">
              <a:solidFill>
                <a:schemeClr val="hlink"/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9C6639B-0CA0-4DA0-A28D-2587263FA11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/>
          </p:cNvSpPr>
          <p:nvPr>
            <p:ph type="title"/>
          </p:nvPr>
        </p:nvSpPr>
        <p:spPr>
          <a:xfrm>
            <a:off x="267419" y="84138"/>
            <a:ext cx="10086257" cy="1028700"/>
          </a:xfrm>
        </p:spPr>
        <p:txBody>
          <a:bodyPr>
            <a:normAutofit/>
          </a:bodyPr>
          <a:lstStyle/>
          <a:p>
            <a:pPr eaLnBrk="1" hangingPunct="1"/>
            <a:r>
              <a:rPr lang="ru-RU" altLang="en-US" sz="3200" dirty="0">
                <a:solidFill>
                  <a:schemeClr val="bg1">
                    <a:lumMod val="90000"/>
                    <a:lumOff val="10000"/>
                  </a:schemeClr>
                </a:solidFill>
                <a:latin typeface="+mj-lt"/>
              </a:rPr>
              <a:t>Другие обязанности исследователя в соответствии с правилами </a:t>
            </a:r>
            <a:r>
              <a:rPr lang="en-GB" altLang="en-US" sz="3200" dirty="0">
                <a:solidFill>
                  <a:schemeClr val="bg1">
                    <a:lumMod val="90000"/>
                    <a:lumOff val="10000"/>
                  </a:schemeClr>
                </a:solidFill>
                <a:latin typeface="+mj-lt"/>
              </a:rPr>
              <a:t>GCP</a:t>
            </a:r>
            <a:endParaRPr lang="en-US" altLang="en-US" sz="3200" dirty="0">
              <a:solidFill>
                <a:schemeClr val="bg1">
                  <a:lumMod val="90000"/>
                  <a:lumOff val="10000"/>
                </a:schemeClr>
              </a:solidFill>
              <a:latin typeface="+mj-lt"/>
            </a:endParaRPr>
          </a:p>
        </p:txBody>
      </p:sp>
      <p:sp>
        <p:nvSpPr>
          <p:cNvPr id="29699" name="Rectangle 3"/>
          <p:cNvSpPr>
            <a:spLocks noGrp="1"/>
          </p:cNvSpPr>
          <p:nvPr>
            <p:ph type="body" idx="4294967295"/>
          </p:nvPr>
        </p:nvSpPr>
        <p:spPr>
          <a:xfrm>
            <a:off x="267419" y="1495200"/>
            <a:ext cx="9935216" cy="4956175"/>
          </a:xfrm>
        </p:spPr>
        <p:txBody>
          <a:bodyPr>
            <a:normAutofit lnSpcReduction="10000"/>
          </a:bodyPr>
          <a:lstStyle/>
          <a:p>
            <a:pPr algn="just" eaLnBrk="1" hangingPunct="1">
              <a:spcBef>
                <a:spcPct val="60000"/>
              </a:spcBef>
            </a:pPr>
            <a:r>
              <a:rPr lang="ru-RU" altLang="en-US" dirty="0">
                <a:solidFill>
                  <a:schemeClr val="hlink"/>
                </a:solidFill>
              </a:rPr>
              <a:t>Знать </a:t>
            </a:r>
            <a:r>
              <a:rPr lang="ru-RU" altLang="en-US" dirty="0"/>
              <a:t>и </a:t>
            </a:r>
            <a:r>
              <a:rPr lang="ru-RU" altLang="en-US" dirty="0">
                <a:solidFill>
                  <a:schemeClr val="hlink"/>
                </a:solidFill>
              </a:rPr>
              <a:t>соблюдать </a:t>
            </a:r>
            <a:r>
              <a:rPr lang="ru-RU" altLang="en-US" dirty="0"/>
              <a:t>правила </a:t>
            </a:r>
            <a:r>
              <a:rPr lang="en-US" altLang="en-US" dirty="0"/>
              <a:t>GCP </a:t>
            </a:r>
            <a:r>
              <a:rPr lang="ru-RU" altLang="en-US" dirty="0"/>
              <a:t>и соответствующие регуляторные требования</a:t>
            </a:r>
            <a:endParaRPr lang="en-US" altLang="en-US" dirty="0"/>
          </a:p>
          <a:p>
            <a:pPr algn="just" eaLnBrk="1" hangingPunct="1">
              <a:spcBef>
                <a:spcPct val="60000"/>
              </a:spcBef>
            </a:pPr>
            <a:r>
              <a:rPr lang="ru-RU" altLang="en-US" dirty="0"/>
              <a:t>Осуществлять регулярный контакт с ЭК до, </a:t>
            </a:r>
            <a:r>
              <a:rPr lang="ru-RU" altLang="en-US" dirty="0">
                <a:solidFill>
                  <a:schemeClr val="hlink"/>
                </a:solidFill>
              </a:rPr>
              <a:t>во время и при завершении </a:t>
            </a:r>
            <a:r>
              <a:rPr lang="ru-RU" altLang="en-US" dirty="0"/>
              <a:t>исследования в соответствии с местным законодательством, при этом письменно указывать представленные для рассмотрения документы, например, подача отчета об отклонении от протокола </a:t>
            </a:r>
            <a:endParaRPr lang="en-US" altLang="en-US" dirty="0"/>
          </a:p>
          <a:p>
            <a:pPr algn="just" eaLnBrk="1" hangingPunct="1">
              <a:spcBef>
                <a:spcPct val="60000"/>
              </a:spcBef>
            </a:pPr>
            <a:r>
              <a:rPr lang="ru-RU" altLang="en-US" dirty="0"/>
              <a:t>Хранить </a:t>
            </a:r>
            <a:r>
              <a:rPr lang="ru-RU" altLang="en-US" dirty="0">
                <a:solidFill>
                  <a:schemeClr val="hlink"/>
                </a:solidFill>
              </a:rPr>
              <a:t>список </a:t>
            </a:r>
            <a:r>
              <a:rPr lang="ru-RU" altLang="en-US" dirty="0"/>
              <a:t>сотрудников, обладающих соответствующей квалификацией, которым исследователь </a:t>
            </a:r>
            <a:r>
              <a:rPr lang="ru-RU" altLang="en-US" dirty="0">
                <a:solidFill>
                  <a:schemeClr val="hlink"/>
                </a:solidFill>
              </a:rPr>
              <a:t>делегировал полномочия на выполнение определенных функций в исследовании</a:t>
            </a:r>
            <a:endParaRPr lang="en-US" altLang="en-US" dirty="0">
              <a:solidFill>
                <a:schemeClr val="hlink"/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9205F9A-8122-4757-B57E-B911863A5DF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7176121" y="5085184"/>
            <a:ext cx="28425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Благодарю за внимание!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178618F-94DB-43E4-A8C8-84F16ED0AC3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638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260231" y="0"/>
            <a:ext cx="10515600" cy="1325563"/>
          </a:xfrm>
        </p:spPr>
        <p:txBody>
          <a:bodyPr>
            <a:normAutofit/>
          </a:bodyPr>
          <a:lstStyle/>
          <a:p>
            <a:r>
              <a:rPr lang="ru-RU" sz="2800" dirty="0">
                <a:cs typeface="Times New Roman" pitchFamily="18" charset="0"/>
              </a:rPr>
              <a:t>Типы переменных. Формы их распределения</a:t>
            </a:r>
          </a:p>
        </p:txBody>
      </p:sp>
      <p:sp>
        <p:nvSpPr>
          <p:cNvPr id="10" name="Содержимое 9"/>
          <p:cNvSpPr>
            <a:spLocks noGrp="1"/>
          </p:cNvSpPr>
          <p:nvPr>
            <p:ph idx="1"/>
          </p:nvPr>
        </p:nvSpPr>
        <p:spPr>
          <a:xfrm>
            <a:off x="1981200" y="1600200"/>
            <a:ext cx="8115328" cy="4329130"/>
          </a:xfrm>
        </p:spPr>
        <p:txBody>
          <a:bodyPr>
            <a:normAutofit fontScale="92500" lnSpcReduction="10000"/>
          </a:bodyPr>
          <a:lstStyle/>
          <a:p>
            <a:r>
              <a:rPr lang="ru-RU" sz="2600" b="1" dirty="0">
                <a:latin typeface="Times New Roman" pitchFamily="18" charset="0"/>
                <a:cs typeface="Times New Roman" pitchFamily="18" charset="0"/>
              </a:rPr>
              <a:t>Непрерывные переменные </a:t>
            </a:r>
            <a:r>
              <a:rPr lang="ru-RU" sz="2600" dirty="0">
                <a:latin typeface="Times New Roman" pitchFamily="18" charset="0"/>
                <a:cs typeface="Times New Roman" pitchFamily="18" charset="0"/>
              </a:rPr>
              <a:t>- любые численные значения, которые естественным образом упорядочены на числовой оси (например, рост, вес). </a:t>
            </a:r>
          </a:p>
          <a:p>
            <a:r>
              <a:rPr lang="ru-RU" sz="2600" b="1" dirty="0">
                <a:latin typeface="Times New Roman" pitchFamily="18" charset="0"/>
                <a:cs typeface="Times New Roman" pitchFamily="18" charset="0"/>
              </a:rPr>
              <a:t>Дискретные переменные </a:t>
            </a:r>
            <a:r>
              <a:rPr lang="ru-RU" sz="2600" dirty="0">
                <a:latin typeface="Times New Roman" pitchFamily="18" charset="0"/>
                <a:cs typeface="Times New Roman" pitchFamily="18" charset="0"/>
              </a:rPr>
              <a:t>- счётное множество упорядоченных значений, которые могут просто обозначать целочисленные данные или ранжировать данные по степени проявления на упорядоченной ранговой шкале (клиническая стадия опухоли, например).</a:t>
            </a:r>
          </a:p>
          <a:p>
            <a:r>
              <a:rPr lang="ru-RU" sz="2600" b="1" dirty="0">
                <a:latin typeface="Times New Roman" pitchFamily="18" charset="0"/>
                <a:cs typeface="Times New Roman" pitchFamily="18" charset="0"/>
              </a:rPr>
              <a:t>Нормальное (или гауссово) распределение </a:t>
            </a:r>
            <a:r>
              <a:rPr lang="ru-RU" sz="2600" dirty="0">
                <a:latin typeface="Times New Roman" pitchFamily="18" charset="0"/>
                <a:cs typeface="Times New Roman" pitchFamily="18" charset="0"/>
              </a:rPr>
              <a:t>имеет </a:t>
            </a:r>
            <a:r>
              <a:rPr lang="ru-RU" sz="2600" dirty="0" err="1">
                <a:latin typeface="Times New Roman" pitchFamily="18" charset="0"/>
                <a:cs typeface="Times New Roman" pitchFamily="18" charset="0"/>
              </a:rPr>
              <a:t>колоколообразную</a:t>
            </a:r>
            <a:r>
              <a:rPr lang="ru-RU" sz="2600" dirty="0">
                <a:latin typeface="Times New Roman" pitchFamily="18" charset="0"/>
                <a:cs typeface="Times New Roman" pitchFamily="18" charset="0"/>
              </a:rPr>
              <a:t> форму абсолютно симметричную относительно оси, проходящей через среднее значение и математически описывается формулой, включающей два параметра, среднее и стандартное отклонение.</a:t>
            </a:r>
          </a:p>
          <a:p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F815566-511E-4E50-BCB9-4AA1368F715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6643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251604" y="-74822"/>
            <a:ext cx="10515600" cy="1325563"/>
          </a:xfrm>
        </p:spPr>
        <p:txBody>
          <a:bodyPr>
            <a:normAutofit/>
          </a:bodyPr>
          <a:lstStyle/>
          <a:p>
            <a:r>
              <a:rPr lang="ru-RU" sz="2800" dirty="0">
                <a:cs typeface="Times New Roman" pitchFamily="18" charset="0"/>
              </a:rPr>
              <a:t>Описательная статистика</a:t>
            </a:r>
          </a:p>
        </p:txBody>
      </p:sp>
      <p:sp>
        <p:nvSpPr>
          <p:cNvPr id="9" name="Содержимое 8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b="1" dirty="0">
                <a:latin typeface="Times New Roman" pitchFamily="18" charset="0"/>
                <a:cs typeface="Times New Roman" pitchFamily="18" charset="0"/>
              </a:rPr>
              <a:t>Среднее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 - вычисляется путем деления суммы значений переменной на количество значений и характеризует количественной переменной.</a:t>
            </a:r>
          </a:p>
          <a:p>
            <a:r>
              <a:rPr lang="ru-RU" b="1" dirty="0">
                <a:latin typeface="Times New Roman" pitchFamily="18" charset="0"/>
                <a:cs typeface="Times New Roman" pitchFamily="18" charset="0"/>
              </a:rPr>
              <a:t>Стандартное отклонение 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- изменчивость (разброс) значений переменной, оценивает степень их отличия от среднего.</a:t>
            </a:r>
          </a:p>
          <a:p>
            <a:r>
              <a:rPr lang="ru-RU" b="1" dirty="0">
                <a:latin typeface="Times New Roman" pitchFamily="18" charset="0"/>
                <a:cs typeface="Times New Roman" pitchFamily="18" charset="0"/>
              </a:rPr>
              <a:t>Стандартная ошибка (среднего) 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- оценка возможного отличия между значением среднего в анализируемой выборке, и истинным средним для всей популяции</a:t>
            </a:r>
          </a:p>
          <a:p>
            <a:endParaRPr lang="ru-RU" dirty="0"/>
          </a:p>
          <a:p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DF48AAA-6442-497E-BE77-16E11949260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6044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9627" y="0"/>
            <a:ext cx="10515600" cy="1325563"/>
          </a:xfrm>
        </p:spPr>
        <p:txBody>
          <a:bodyPr>
            <a:normAutofit/>
          </a:bodyPr>
          <a:lstStyle/>
          <a:p>
            <a:r>
              <a:rPr lang="ru-RU" sz="2800" dirty="0">
                <a:cs typeface="Times New Roman" pitchFamily="18" charset="0"/>
              </a:rPr>
              <a:t>Статистическая достоверность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981200" y="1600202"/>
            <a:ext cx="8115328" cy="3900501"/>
          </a:xfrm>
        </p:spPr>
        <p:txBody>
          <a:bodyPr>
            <a:normAutofit fontScale="92500" lnSpcReduction="10000"/>
          </a:bodyPr>
          <a:lstStyle/>
          <a:p>
            <a:r>
              <a:rPr lang="ru-RU" dirty="0">
                <a:latin typeface="Times New Roman" pitchFamily="18" charset="0"/>
                <a:cs typeface="Times New Roman" pitchFamily="18" charset="0"/>
              </a:rPr>
              <a:t>Показатель достоверности различий обозначается 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. </a:t>
            </a:r>
          </a:p>
          <a:p>
            <a:r>
              <a:rPr lang="ru-RU" dirty="0">
                <a:latin typeface="Times New Roman" pitchFamily="18" charset="0"/>
                <a:cs typeface="Times New Roman" pitchFamily="18" charset="0"/>
              </a:rPr>
              <a:t>Величиной </a:t>
            </a:r>
            <a:r>
              <a:rPr lang="ru-RU" dirty="0" err="1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 (или «пи-величина», англ. «</a:t>
            </a:r>
            <a:r>
              <a:rPr lang="ru-RU" dirty="0" err="1">
                <a:latin typeface="Times New Roman" pitchFamily="18" charset="0"/>
                <a:cs typeface="Times New Roman" pitchFamily="18" charset="0"/>
              </a:rPr>
              <a:t>Р-value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») для конкретной выборки называют вероятность получения по крайне мере таких же или ещё больших отличий наблюдаемого от ожидаемого, чем в данной конкретной выборке, при условии, что выдвинутая гипотеза верна. </a:t>
            </a:r>
          </a:p>
          <a:p>
            <a:r>
              <a:rPr lang="ru-RU" dirty="0">
                <a:latin typeface="Times New Roman" pitchFamily="18" charset="0"/>
                <a:cs typeface="Times New Roman" pitchFamily="18" charset="0"/>
              </a:rPr>
              <a:t>С помощью статистических расчетов вычисляется значение </a:t>
            </a:r>
            <a:r>
              <a:rPr lang="ru-RU" dirty="0" err="1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, которое затем сравнивается с заранее выбранным уровнем значимости -</a:t>
            </a:r>
            <a:r>
              <a:rPr lang="el-GR" dirty="0">
                <a:latin typeface="Times New Roman" pitchFamily="18" charset="0"/>
                <a:cs typeface="Times New Roman" pitchFamily="18" charset="0"/>
              </a:rPr>
              <a:t> α≤0,05 (≤ 5%)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9B48D93-ABF0-4033-862C-910A8C7991C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4405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одержимое 3"/>
          <p:cNvSpPr>
            <a:spLocks noGrp="1"/>
          </p:cNvSpPr>
          <p:nvPr>
            <p:ph idx="1"/>
          </p:nvPr>
        </p:nvSpPr>
        <p:spPr>
          <a:xfrm>
            <a:off x="803695" y="1825625"/>
            <a:ext cx="10515600" cy="4351338"/>
          </a:xfrm>
        </p:spPr>
        <p:txBody>
          <a:bodyPr>
            <a:normAutofit/>
          </a:bodyPr>
          <a:lstStyle/>
          <a:p>
            <a:r>
              <a:rPr lang="ru-RU" sz="2400" dirty="0">
                <a:cs typeface="Times New Roman" pitchFamily="18" charset="0"/>
              </a:rPr>
              <a:t>Этот интервал представляет собой область, в которую попадает истинное значение доли в 95 % случаев. Другими словами, можно с 95 % надежностью сказать, что истинное значение частоты встречаемости признака в генеральной совокупности будет находиться в пределах 95 % доверительного интервала. 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4294967295"/>
          </p:nvPr>
        </p:nvSpPr>
        <p:spPr>
          <a:xfrm>
            <a:off x="603849" y="361156"/>
            <a:ext cx="7704569" cy="639762"/>
          </a:xfrm>
        </p:spPr>
        <p:txBody>
          <a:bodyPr>
            <a:noAutofit/>
          </a:bodyPr>
          <a:lstStyle/>
          <a:p>
            <a:pPr>
              <a:buNone/>
            </a:pPr>
            <a:r>
              <a:rPr lang="ru-RU" dirty="0">
                <a:latin typeface="+mj-lt"/>
                <a:cs typeface="Times New Roman" pitchFamily="18" charset="0"/>
              </a:rPr>
              <a:t>Доверительный интервал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AB7205F-AE14-49D8-B497-3262045DCF6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3403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264" y="-83449"/>
            <a:ext cx="10515600" cy="1325563"/>
          </a:xfrm>
        </p:spPr>
        <p:txBody>
          <a:bodyPr>
            <a:noAutofit/>
          </a:bodyPr>
          <a:lstStyle/>
          <a:p>
            <a:r>
              <a:rPr lang="ru-RU" sz="3200" dirty="0">
                <a:cs typeface="Times New Roman" pitchFamily="18" charset="0"/>
              </a:rPr>
              <a:t>Выбор метода статистической обработки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half" idx="1"/>
          </p:nvPr>
        </p:nvSpPr>
        <p:spPr>
          <a:xfrm>
            <a:off x="1981200" y="1600201"/>
            <a:ext cx="4043362" cy="4972071"/>
          </a:xfrm>
        </p:spPr>
        <p:txBody>
          <a:bodyPr>
            <a:normAutofit fontScale="70000" lnSpcReduction="20000"/>
          </a:bodyPr>
          <a:lstStyle/>
          <a:p>
            <a:pPr marL="514350" indent="-514350">
              <a:buAutoNum type="arabicPeriod"/>
            </a:pPr>
            <a:r>
              <a:rPr lang="ru-RU" b="1" dirty="0">
                <a:cs typeface="Times New Roman" pitchFamily="18" charset="0"/>
              </a:rPr>
              <a:t>Параметрические методы</a:t>
            </a:r>
          </a:p>
          <a:p>
            <a:pPr marL="514350" indent="-514350">
              <a:buAutoNum type="arabicPeriod"/>
            </a:pPr>
            <a:endParaRPr lang="ru-RU" b="1" dirty="0">
              <a:cs typeface="Times New Roman" pitchFamily="18" charset="0"/>
            </a:endParaRPr>
          </a:p>
          <a:p>
            <a:pPr marL="514350" indent="-514350"/>
            <a:r>
              <a:rPr lang="ru-RU" dirty="0">
                <a:cs typeface="Times New Roman" pitchFamily="18" charset="0"/>
              </a:rPr>
              <a:t>Используются для анализа непрерывных (численных) переменные, значения которых распределены нормально. </a:t>
            </a:r>
          </a:p>
          <a:p>
            <a:pPr marL="514350" indent="-514350"/>
            <a:r>
              <a:rPr lang="ru-RU" dirty="0">
                <a:cs typeface="Times New Roman" pitchFamily="18" charset="0"/>
              </a:rPr>
              <a:t>Преимущество - для них существует хорошо разработанный математический аппарат.</a:t>
            </a:r>
          </a:p>
          <a:p>
            <a:pPr marL="514350" indent="-514350"/>
            <a:r>
              <a:rPr lang="ru-RU" dirty="0">
                <a:cs typeface="Times New Roman" pitchFamily="18" charset="0"/>
              </a:rPr>
              <a:t>Однако применение этих методов, кроме прочего, предполагает большой объем выборки. 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half" idx="2"/>
          </p:nvPr>
        </p:nvSpPr>
        <p:spPr>
          <a:xfrm>
            <a:off x="6172200" y="1600200"/>
            <a:ext cx="4495800" cy="5257800"/>
          </a:xfrm>
        </p:spPr>
        <p:txBody>
          <a:bodyPr>
            <a:normAutofit fontScale="70000" lnSpcReduction="20000"/>
          </a:bodyPr>
          <a:lstStyle/>
          <a:p>
            <a:pPr>
              <a:buNone/>
            </a:pPr>
            <a:r>
              <a:rPr lang="ru-RU" b="1" dirty="0">
                <a:cs typeface="Times New Roman" pitchFamily="18" charset="0"/>
              </a:rPr>
              <a:t>2. Непараметрические методы</a:t>
            </a:r>
          </a:p>
          <a:p>
            <a:pPr>
              <a:buNone/>
            </a:pPr>
            <a:endParaRPr lang="ru-RU" b="1" dirty="0">
              <a:cs typeface="Times New Roman" pitchFamily="18" charset="0"/>
            </a:endParaRPr>
          </a:p>
          <a:p>
            <a:r>
              <a:rPr lang="ru-RU" dirty="0">
                <a:cs typeface="Times New Roman" pitchFamily="18" charset="0"/>
              </a:rPr>
              <a:t>Применяются как к непрерывным, так и к дискретным данным.</a:t>
            </a:r>
          </a:p>
          <a:p>
            <a:r>
              <a:rPr lang="ru-RU" dirty="0">
                <a:cs typeface="Times New Roman" pitchFamily="18" charset="0"/>
              </a:rPr>
              <a:t>Могут быть использованы, когда характеристики популяции, из которой делается выборка, частично неизвестны.</a:t>
            </a:r>
          </a:p>
          <a:p>
            <a:r>
              <a:rPr lang="ru-RU" dirty="0">
                <a:cs typeface="Times New Roman" pitchFamily="18" charset="0"/>
              </a:rPr>
              <a:t>Преимущество - </a:t>
            </a:r>
            <a:r>
              <a:rPr lang="ru-RU" dirty="0" err="1">
                <a:cs typeface="Times New Roman" pitchFamily="18" charset="0"/>
              </a:rPr>
              <a:t>бόльшая </a:t>
            </a:r>
            <a:r>
              <a:rPr lang="ru-RU" dirty="0">
                <a:cs typeface="Times New Roman" pitchFamily="18" charset="0"/>
              </a:rPr>
              <a:t>мощность (робастность) и относительная несложность вычислений (в большинстве случаев).</a:t>
            </a:r>
          </a:p>
          <a:p>
            <a:r>
              <a:rPr lang="ru-RU" dirty="0">
                <a:cs typeface="Times New Roman" pitchFamily="18" charset="0"/>
              </a:rPr>
              <a:t>Однако обладает меньшей специфичностью и  наблюдается потенциальная трудоемкость при применении к большим массивам данных.</a:t>
            </a:r>
          </a:p>
          <a:p>
            <a:endParaRPr lang="ru-RU" dirty="0"/>
          </a:p>
          <a:p>
            <a:endParaRPr lang="ru-RU" dirty="0">
              <a:cs typeface="Times New Roman" pitchFamily="18" charset="0"/>
            </a:endParaRPr>
          </a:p>
          <a:p>
            <a:endParaRPr lang="ru-RU" dirty="0">
              <a:cs typeface="Times New Roman" pitchFamily="18" charset="0"/>
            </a:endParaRPr>
          </a:p>
          <a:p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3AADA6C-1331-492F-877E-6642711DEA0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7008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9">
      <a:dk1>
        <a:srgbClr val="2B5B4E"/>
      </a:dk1>
      <a:lt1>
        <a:srgbClr val="142E22"/>
      </a:lt1>
      <a:dk2>
        <a:srgbClr val="060E0A"/>
      </a:dk2>
      <a:lt2>
        <a:srgbClr val="142E22"/>
      </a:lt2>
      <a:accent1>
        <a:srgbClr val="4D8D82"/>
      </a:accent1>
      <a:accent2>
        <a:srgbClr val="65A9B9"/>
      </a:accent2>
      <a:accent3>
        <a:srgbClr val="FFD96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ВолгГМУ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ontent slide – cool palette">
  <a:themeElements>
    <a:clrScheme name="Janssen Color Palette">
      <a:dk1>
        <a:srgbClr val="505050"/>
      </a:dk1>
      <a:lt1>
        <a:srgbClr val="FFFFFF"/>
      </a:lt1>
      <a:dk2>
        <a:srgbClr val="505050"/>
      </a:dk2>
      <a:lt2>
        <a:srgbClr val="FFFFFF"/>
      </a:lt2>
      <a:accent1>
        <a:srgbClr val="09357A"/>
      </a:accent1>
      <a:accent2>
        <a:srgbClr val="2A8EBF"/>
      </a:accent2>
      <a:accent3>
        <a:srgbClr val="BFBFBF"/>
      </a:accent3>
      <a:accent4>
        <a:srgbClr val="237D26"/>
      </a:accent4>
      <a:accent5>
        <a:srgbClr val="7FC31C"/>
      </a:accent5>
      <a:accent6>
        <a:srgbClr val="BFE18D"/>
      </a:accent6>
      <a:hlink>
        <a:srgbClr val="2A8EBF"/>
      </a:hlink>
      <a:folHlink>
        <a:srgbClr val="94C6D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3010</Words>
  <Application>Microsoft Office PowerPoint</Application>
  <PresentationFormat>Широкоэкранный</PresentationFormat>
  <Paragraphs>297</Paragraphs>
  <Slides>43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3</vt:i4>
      </vt:variant>
    </vt:vector>
  </HeadingPairs>
  <TitlesOfParts>
    <vt:vector size="54" baseType="lpstr">
      <vt:lpstr>Arial</vt:lpstr>
      <vt:lpstr>Arial Black</vt:lpstr>
      <vt:lpstr>Calibri</vt:lpstr>
      <vt:lpstr>Century Gothic</vt:lpstr>
      <vt:lpstr>Monotype Sorts</vt:lpstr>
      <vt:lpstr>Times New Roman</vt:lpstr>
      <vt:lpstr>Verdana</vt:lpstr>
      <vt:lpstr>Wingdings</vt:lpstr>
      <vt:lpstr>Тема Office</vt:lpstr>
      <vt:lpstr>2_Content slide – cool palette</vt:lpstr>
      <vt:lpstr>think-cell Slide</vt:lpstr>
      <vt:lpstr> дисциплина «Основы научно-исследовательской деятельности» факультативной части основной профессиональной образовательной программы подготовки кадров высшей квалификации в ординатуре по специальности 31.08.49 Терапия</vt:lpstr>
      <vt:lpstr>Презентация PowerPoint</vt:lpstr>
      <vt:lpstr>Медицинская статистика. Основные понятия</vt:lpstr>
      <vt:lpstr>Переходя от общей постановки цели и задач научной работы к расчетам, необходимо прежде всего сформулировать статистическую гипотезу </vt:lpstr>
      <vt:lpstr>Типы переменных. Формы их распределения</vt:lpstr>
      <vt:lpstr>Описательная статистика</vt:lpstr>
      <vt:lpstr>Статистическая достоверность</vt:lpstr>
      <vt:lpstr>Презентация PowerPoint</vt:lpstr>
      <vt:lpstr>Выбор метода статистической обработки</vt:lpstr>
      <vt:lpstr>Параметрические методы статистической обработки</vt:lpstr>
      <vt:lpstr>Презентация PowerPoint</vt:lpstr>
      <vt:lpstr>Непараметрические методы статистической обработки</vt:lpstr>
      <vt:lpstr>Презентация PowerPoint</vt:lpstr>
      <vt:lpstr>Презентация PowerPoint</vt:lpstr>
      <vt:lpstr>Рекомендуемые статистические критерии в зависимости от типа признака и вида его распределения</vt:lpstr>
      <vt:lpstr>Корреляционный и регрессионный анализ</vt:lpstr>
      <vt:lpstr>Коэффициенты корреляции</vt:lpstr>
      <vt:lpstr>Линейные и ранговые корреляции</vt:lpstr>
      <vt:lpstr>Сила связи</vt:lpstr>
      <vt:lpstr>Методологическое качество систематических обзоров, мета-анализов</vt:lpstr>
      <vt:lpstr>Методологическое качество РКИ</vt:lpstr>
      <vt:lpstr>Методологическое качество когортных исследований</vt:lpstr>
      <vt:lpstr>Методологическое качество одномоментных исследований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Типовые модели клинических исследований</vt:lpstr>
      <vt:lpstr>Классификация клинических исследований</vt:lpstr>
      <vt:lpstr>Презентация PowerPoint</vt:lpstr>
      <vt:lpstr>Оценка важности исходов</vt:lpstr>
      <vt:lpstr>Оценка важности исходов</vt:lpstr>
      <vt:lpstr>Презентация PowerPoint</vt:lpstr>
      <vt:lpstr>Первичные данные</vt:lpstr>
      <vt:lpstr>Процесс регистрации данных</vt:lpstr>
      <vt:lpstr>Первичная документация</vt:lpstr>
      <vt:lpstr>Первичные документы</vt:lpstr>
      <vt:lpstr>Презентация PowerPoint</vt:lpstr>
      <vt:lpstr>Обязанности исследователя в соответствии с правилами GCP </vt:lpstr>
      <vt:lpstr>Другие обязанности исследователя в соответствии с правилами GCP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11-28T21:26:49Z</dcterms:created>
  <dcterms:modified xsi:type="dcterms:W3CDTF">2024-10-14T17:46:51Z</dcterms:modified>
</cp:coreProperties>
</file>